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5.xml" ContentType="application/vnd.openxmlformats-officedocument.theme+xml"/>
  <Override PartName="/ppt/tags/tag2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tags/tag3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2" r:id="rId1"/>
    <p:sldMasterId id="2147483835" r:id="rId2"/>
    <p:sldMasterId id="2147483848" r:id="rId3"/>
    <p:sldMasterId id="2147483861" r:id="rId4"/>
    <p:sldMasterId id="2147483877" r:id="rId5"/>
    <p:sldMasterId id="2147483893" r:id="rId6"/>
  </p:sldMasterIdLst>
  <p:notesMasterIdLst>
    <p:notesMasterId r:id="rId25"/>
  </p:notesMasterIdLst>
  <p:handoutMasterIdLst>
    <p:handoutMasterId r:id="rId26"/>
  </p:handoutMasterIdLst>
  <p:sldIdLst>
    <p:sldId id="326" r:id="rId7"/>
    <p:sldId id="548" r:id="rId8"/>
    <p:sldId id="525" r:id="rId9"/>
    <p:sldId id="545" r:id="rId10"/>
    <p:sldId id="546" r:id="rId11"/>
    <p:sldId id="529" r:id="rId12"/>
    <p:sldId id="526" r:id="rId13"/>
    <p:sldId id="528" r:id="rId14"/>
    <p:sldId id="544" r:id="rId15"/>
    <p:sldId id="540" r:id="rId16"/>
    <p:sldId id="551" r:id="rId17"/>
    <p:sldId id="552" r:id="rId18"/>
    <p:sldId id="547" r:id="rId19"/>
    <p:sldId id="550" r:id="rId20"/>
    <p:sldId id="542" r:id="rId21"/>
    <p:sldId id="549" r:id="rId22"/>
    <p:sldId id="543" r:id="rId23"/>
    <p:sldId id="538" r:id="rId24"/>
  </p:sldIdLst>
  <p:sldSz cx="9906000" cy="6858000" type="A4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4AC4A"/>
    <a:srgbClr val="6F9462"/>
    <a:srgbClr val="6C9A5C"/>
    <a:srgbClr val="969A5C"/>
    <a:srgbClr val="54A84E"/>
    <a:srgbClr val="FFC489"/>
    <a:srgbClr val="70A254"/>
    <a:srgbClr val="6B8D49"/>
    <a:srgbClr val="FFCC99"/>
    <a:srgbClr val="47973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70" autoAdjust="0"/>
    <p:restoredTop sz="86441" autoAdjust="0"/>
  </p:normalViewPr>
  <p:slideViewPr>
    <p:cSldViewPr snapToGrid="0">
      <p:cViewPr varScale="1">
        <p:scale>
          <a:sx n="94" d="100"/>
          <a:sy n="94" d="100"/>
        </p:scale>
        <p:origin x="2208" y="7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  <p:sld r:id="rId10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-3870" y="-108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13.xml"/><Relationship Id="rId3" Type="http://schemas.openxmlformats.org/officeDocument/2006/relationships/slide" Target="slides/slide6.xml"/><Relationship Id="rId7" Type="http://schemas.openxmlformats.org/officeDocument/2006/relationships/slide" Target="slides/slide10.xml"/><Relationship Id="rId2" Type="http://schemas.openxmlformats.org/officeDocument/2006/relationships/slide" Target="slides/slide3.xml"/><Relationship Id="rId1" Type="http://schemas.openxmlformats.org/officeDocument/2006/relationships/slide" Target="slides/slide1.xml"/><Relationship Id="rId6" Type="http://schemas.openxmlformats.org/officeDocument/2006/relationships/slide" Target="slides/slide9.xml"/><Relationship Id="rId5" Type="http://schemas.openxmlformats.org/officeDocument/2006/relationships/slide" Target="slides/slide8.xml"/><Relationship Id="rId10" Type="http://schemas.openxmlformats.org/officeDocument/2006/relationships/slide" Target="slides/slide17.xml"/><Relationship Id="rId4" Type="http://schemas.openxmlformats.org/officeDocument/2006/relationships/slide" Target="slides/slide7.xml"/><Relationship Id="rId9" Type="http://schemas.openxmlformats.org/officeDocument/2006/relationships/slide" Target="slides/slide1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6411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5" y="2"/>
            <a:ext cx="2945659" cy="496411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>
              <a:defRPr sz="1200"/>
            </a:lvl1pPr>
          </a:lstStyle>
          <a:p>
            <a:fld id="{3B781E05-9910-46F9-A2F3-1AFBCD206144}" type="datetimeFigureOut">
              <a:rPr lang="ru-RU" smtClean="0"/>
              <a:pPr/>
              <a:t>10.11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30093"/>
            <a:ext cx="2945659" cy="496411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5" y="9430093"/>
            <a:ext cx="2945659" cy="496411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r">
              <a:defRPr sz="1200"/>
            </a:lvl1pPr>
          </a:lstStyle>
          <a:p>
            <a:fld id="{A4B4AC27-0B2D-4854-B46F-FDC70FA6C0B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1008418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135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5" y="2"/>
            <a:ext cx="2945659" cy="498135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r">
              <a:defRPr sz="1200"/>
            </a:lvl1pPr>
          </a:lstStyle>
          <a:p>
            <a:fld id="{1F7A144E-CE39-446D-BBDC-4BAB46B4C798}" type="datetimeFigureOut">
              <a:rPr lang="ru-RU" smtClean="0"/>
              <a:pPr/>
              <a:t>10.11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2" tIns="45710" rIns="91422" bIns="4571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60"/>
            <a:ext cx="5438140" cy="3909239"/>
          </a:xfrm>
          <a:prstGeom prst="rect">
            <a:avLst/>
          </a:prstGeom>
        </p:spPr>
        <p:txBody>
          <a:bodyPr vert="horz" lIns="91422" tIns="45710" rIns="91422" bIns="4571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30091"/>
            <a:ext cx="2945659" cy="498134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5" y="9430091"/>
            <a:ext cx="2945659" cy="498134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r">
              <a:defRPr sz="1200"/>
            </a:lvl1pPr>
          </a:lstStyle>
          <a:p>
            <a:fld id="{DA74E260-E63E-4DAF-BE98-AB6CFC67E84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1606875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643997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/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5F4777-E4A1-403B-9115-68349A07A204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1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710832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/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5F4777-E4A1-403B-9115-68349A07A204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2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909695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/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55F4777-E4A1-403B-9115-68349A07A204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752114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/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5F4777-E4A1-403B-9115-68349A07A204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125586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/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5F4777-E4A1-403B-9115-68349A07A204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49555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836450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/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5F4777-E4A1-403B-9115-68349A07A204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64948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Целями создания Системы видеоанализа соблюдения техники безопасности и промышленной безопасности являлись:</a:t>
            </a:r>
          </a:p>
          <a:p>
            <a:r>
              <a:rPr lang="ru-RU" dirty="0" smtClean="0"/>
              <a:t>˗	снижение травматизма персонала АЭС при производстве работ в КРУ 6кВ, вызванных нарушением ТБ и ПБ в части правильности применения СИЗ;</a:t>
            </a:r>
          </a:p>
          <a:p>
            <a:r>
              <a:rPr lang="ru-RU" dirty="0" smtClean="0"/>
              <a:t>˗	снижение трудозатрат на обработку данных с камер видеонаблюдения; - повышение трудовой дисциплины в части    правильности применения СИЗ за счет:</a:t>
            </a:r>
          </a:p>
          <a:p>
            <a:r>
              <a:rPr lang="ru-RU" dirty="0" smtClean="0"/>
              <a:t>- обеспечения обнаружения до 100% случаев нарушений требований ТБ в части применения СИЗ в масштабе реального времени;</a:t>
            </a:r>
          </a:p>
          <a:p>
            <a:r>
              <a:rPr lang="ru-RU" dirty="0" smtClean="0"/>
              <a:t>- мгновенного оповещения заинтересованных служб о случаях нарушений ТБ и ПБ в части правильности применения СИЗ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27031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861716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/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5F4777-E4A1-403B-9115-68349A07A204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34275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dirty="0" smtClean="0"/>
              <a:t>Вид рабочего места оператора Системы. В данном интерфейсе ведется мониторинг работ в контролируемых помещениях, возможно переключение в интерфейс других ролей системы (Руководитель, Менеджер НСИ, Администратор модуля идентификации нарушений ТБ, Менеджер по разметке, Разметчик, Специалист по машинному обучению, Администратор). </a:t>
            </a:r>
            <a:endParaRPr lang="ru-RU" dirty="0"/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5F4777-E4A1-403B-9115-68349A07A204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7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67554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/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5F4777-E4A1-403B-9115-68349A07A204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853702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/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5F4777-E4A1-403B-9115-68349A07A204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49436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/>
          </a:p>
        </p:txBody>
      </p:sp>
      <p:sp>
        <p:nvSpPr>
          <p:cNvPr id="15363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55F4777-E4A1-403B-9115-68349A07A204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328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981709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8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76344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5" y="1303839"/>
            <a:ext cx="4413250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9" y="1303838"/>
            <a:ext cx="4500562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63660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8" y="3864970"/>
            <a:ext cx="9037637" cy="233580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7" y="1303837"/>
            <a:ext cx="4502103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535534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59695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9" y="1303837"/>
            <a:ext cx="9037636" cy="23271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452438" y="3795624"/>
            <a:ext cx="9037635" cy="24051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351955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452438" y="460302"/>
            <a:ext cx="3583032" cy="433965"/>
          </a:xfrm>
          <a:prstGeom prst="rect">
            <a:avLst/>
          </a:prstGeom>
        </p:spPr>
        <p:txBody>
          <a:bodyPr vert="horz" lIns="0" tIns="45720" rIns="91440" bIns="45720" rtlCol="0" anchor="b">
            <a:normAutofit fontScale="925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ru-RU" dirty="0" smtClean="0"/>
              <a:t>Контактная информация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0"/>
          </p:nvPr>
        </p:nvSpPr>
        <p:spPr>
          <a:xfrm>
            <a:off x="4953000" y="1322388"/>
            <a:ext cx="4537075" cy="45720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8" name="Объект 16"/>
          <p:cNvSpPr>
            <a:spLocks noGrp="1"/>
          </p:cNvSpPr>
          <p:nvPr>
            <p:ph sz="quarter" idx="12"/>
          </p:nvPr>
        </p:nvSpPr>
        <p:spPr>
          <a:xfrm>
            <a:off x="452437" y="1322387"/>
            <a:ext cx="4502103" cy="457200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/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8840" y="1"/>
            <a:ext cx="8917432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7168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29774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84729" y="6085526"/>
            <a:ext cx="4349354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90570" rtl="0" eaLnBrk="1" fontAlgn="auto" latinLnBrk="0" hangingPunct="1">
              <a:lnSpc>
                <a:spcPct val="90000"/>
              </a:lnSpc>
              <a:spcBef>
                <a:spcPts val="1083"/>
              </a:spcBef>
              <a:spcAft>
                <a:spcPts val="0"/>
              </a:spcAft>
              <a:buClrTx/>
              <a:buSzTx/>
              <a:buFontTx/>
              <a:buNone/>
              <a:tabLst/>
              <a:defRPr sz="758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90570" rtl="0" eaLnBrk="1" fontAlgn="auto" latinLnBrk="0" hangingPunct="1">
              <a:lnSpc>
                <a:spcPct val="90000"/>
              </a:lnSpc>
              <a:spcBef>
                <a:spcPts val="1083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 smtClean="0"/>
              <a:t>Место для указания источников и сносок</a:t>
            </a:r>
            <a:endParaRPr lang="en-US" dirty="0" smtClean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868966" y="6100237"/>
            <a:ext cx="608806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758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758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84729" y="575201"/>
            <a:ext cx="7107900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2492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 smtClean="0"/>
              <a:t>Заголовок</a:t>
            </a:r>
            <a:endParaRPr lang="en-US" dirty="0"/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84729" y="1966679"/>
            <a:ext cx="4349354" cy="1639201"/>
          </a:xfrm>
          <a:prstGeom prst="rect">
            <a:avLst/>
          </a:prstGeom>
        </p:spPr>
        <p:txBody>
          <a:bodyPr lIns="0" tIns="0" rIns="0" bIns="0"/>
          <a:lstStyle>
            <a:lvl1pPr marL="185732" indent="-185732">
              <a:buFont typeface="Arial" pitchFamily="34" charset="0"/>
              <a:buChar char="•"/>
              <a:defRPr lang="en-US" sz="13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209250" y="1966679"/>
            <a:ext cx="4268523" cy="1639201"/>
          </a:xfrm>
          <a:prstGeom prst="rect">
            <a:avLst/>
          </a:prstGeom>
        </p:spPr>
        <p:txBody>
          <a:bodyPr lIns="0" tIns="0" rIns="0" bIns="0"/>
          <a:lstStyle>
            <a:lvl1pPr marL="185732" indent="-185732">
              <a:buFont typeface="Arial" pitchFamily="34" charset="0"/>
              <a:buChar char="•"/>
              <a:defRPr lang="en-US" sz="13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6" hasCustomPrompt="1"/>
          </p:nvPr>
        </p:nvSpPr>
        <p:spPr>
          <a:xfrm>
            <a:off x="584729" y="3750285"/>
            <a:ext cx="4349354" cy="1639201"/>
          </a:xfrm>
          <a:prstGeom prst="rect">
            <a:avLst/>
          </a:prstGeom>
        </p:spPr>
        <p:txBody>
          <a:bodyPr lIns="0" tIns="0" rIns="0" bIns="0"/>
          <a:lstStyle>
            <a:lvl1pPr marL="185732" indent="-185732">
              <a:buFont typeface="Arial" pitchFamily="34" charset="0"/>
              <a:buChar char="•"/>
              <a:defRPr lang="en-US" sz="13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 hasCustomPrompt="1"/>
          </p:nvPr>
        </p:nvSpPr>
        <p:spPr>
          <a:xfrm>
            <a:off x="5209250" y="3750285"/>
            <a:ext cx="4268523" cy="1639201"/>
          </a:xfrm>
          <a:prstGeom prst="rect">
            <a:avLst/>
          </a:prstGeom>
        </p:spPr>
        <p:txBody>
          <a:bodyPr lIns="0" tIns="0" rIns="0" bIns="0"/>
          <a:lstStyle>
            <a:lvl1pPr marL="185732" indent="-185732">
              <a:buFont typeface="Arial" pitchFamily="34" charset="0"/>
              <a:buChar char="•"/>
              <a:defRPr lang="en-US" sz="1300" kern="12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732667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81080" y="981709"/>
            <a:ext cx="4612989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1080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0" y="5496128"/>
            <a:ext cx="302895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1123405" y="5826034"/>
            <a:ext cx="3239589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10219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2" t="328" r="457" b="421"/>
          <a:stretch/>
        </p:blipFill>
        <p:spPr>
          <a:xfrm>
            <a:off x="0" y="0"/>
            <a:ext cx="9917081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81080" y="981709"/>
            <a:ext cx="4612989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1080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0" y="5496128"/>
            <a:ext cx="302895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1123405" y="5826034"/>
            <a:ext cx="3239589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05903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906000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74766" y="2431686"/>
            <a:ext cx="4219303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rgbClr val="0070BA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74766" y="3292332"/>
            <a:ext cx="3338907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0070B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0" y="5496128"/>
            <a:ext cx="302895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613953" y="5826034"/>
            <a:ext cx="3239589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68519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 userDrawn="1"/>
        </p:nvSpPr>
        <p:spPr>
          <a:xfrm>
            <a:off x="0" y="913856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0"/>
            <a:ext cx="4972050" cy="4391025"/>
          </a:xfrm>
          <a:prstGeom prst="rect">
            <a:avLst/>
          </a:prstGeom>
          <a:solidFill>
            <a:srgbClr val="006DB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Прямоугольник 15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981709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8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20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  <p:sp>
        <p:nvSpPr>
          <p:cNvPr id="2" name="Скругленный прямоугольник 1"/>
          <p:cNvSpPr/>
          <p:nvPr userDrawn="1"/>
        </p:nvSpPr>
        <p:spPr>
          <a:xfrm>
            <a:off x="9056914" y="6066971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76957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8840" y="1"/>
            <a:ext cx="8917432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z="1600" smtClean="0">
                <a:solidFill>
                  <a:srgbClr val="0070BA"/>
                </a:solidFill>
              </a:rPr>
              <a:pPr/>
              <a:t>‹#›</a:t>
            </a:fld>
            <a:endParaRPr lang="ru-RU" sz="1600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3656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9906000" cy="700310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09005" y="1425717"/>
            <a:ext cx="4540180" cy="13454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09005" y="2987958"/>
            <a:ext cx="4540180" cy="10271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1769636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6000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5432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680000" cy="823912"/>
          </a:xfrm>
          <a:solidFill>
            <a:srgbClr val="4B87C3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680000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440794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62273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0102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4" y="1303838"/>
            <a:ext cx="4438965" cy="50588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0" y="1303837"/>
            <a:ext cx="5076823" cy="50588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10873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4111188"/>
            <a:ext cx="9905999" cy="22996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1966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1303837"/>
            <a:ext cx="990600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0" y="4111188"/>
            <a:ext cx="9905999" cy="22996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323652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81080" y="981709"/>
            <a:ext cx="4612989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1080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0" y="5496128"/>
            <a:ext cx="302895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1123405" y="5826034"/>
            <a:ext cx="3239589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18451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906000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2459395"/>
            <a:ext cx="4133810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rgbClr val="0070BA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34599" y="3320041"/>
            <a:ext cx="327125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0070B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78936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2" t="328" r="457" b="421"/>
          <a:stretch/>
        </p:blipFill>
        <p:spPr>
          <a:xfrm>
            <a:off x="0" y="0"/>
            <a:ext cx="9917081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81080" y="981709"/>
            <a:ext cx="4612989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1080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0" y="5496128"/>
            <a:ext cx="302895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1123405" y="5826034"/>
            <a:ext cx="3239589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86785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906000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74766" y="2431686"/>
            <a:ext cx="4219303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rgbClr val="0070BA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74766" y="3292332"/>
            <a:ext cx="3338907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0070B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0" y="5496128"/>
            <a:ext cx="302895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613953" y="5826034"/>
            <a:ext cx="3239589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098469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8840" y="1"/>
            <a:ext cx="8917432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z="1600" smtClean="0">
                <a:solidFill>
                  <a:srgbClr val="0070BA"/>
                </a:solidFill>
              </a:rPr>
              <a:pPr/>
              <a:t>‹#›</a:t>
            </a:fld>
            <a:endParaRPr lang="ru-RU" sz="1600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142923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9906000" cy="700310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09005" y="1425717"/>
            <a:ext cx="4540180" cy="13454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09005" y="2987958"/>
            <a:ext cx="4540180" cy="10271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808185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6000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2302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680000" cy="823912"/>
          </a:xfrm>
          <a:solidFill>
            <a:srgbClr val="4B87C3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680000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000075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5189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214744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4" y="1303838"/>
            <a:ext cx="4438965" cy="50588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0" y="1303837"/>
            <a:ext cx="5076823" cy="50588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812152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4111188"/>
            <a:ext cx="9905999" cy="22996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9825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02278" y="6305542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2136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1303837"/>
            <a:ext cx="990600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0" y="4111188"/>
            <a:ext cx="9905999" cy="22996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29716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81080" y="981709"/>
            <a:ext cx="4612989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1080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0" y="5496128"/>
            <a:ext cx="302895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1123405" y="5826034"/>
            <a:ext cx="3239589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70792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2" t="328" r="457" b="421"/>
          <a:stretch/>
        </p:blipFill>
        <p:spPr>
          <a:xfrm>
            <a:off x="0" y="0"/>
            <a:ext cx="9917081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81080" y="981709"/>
            <a:ext cx="4612989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1080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0" y="5496128"/>
            <a:ext cx="302895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1123405" y="5826034"/>
            <a:ext cx="3239589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4125620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906000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74766" y="2431686"/>
            <a:ext cx="4219303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rgbClr val="0070BA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74766" y="3292332"/>
            <a:ext cx="3338907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0070B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0" y="5496128"/>
            <a:ext cx="302895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/>
          <p:nvPr userDrawn="1"/>
        </p:nvCxnSpPr>
        <p:spPr>
          <a:xfrm>
            <a:off x="613953" y="5826034"/>
            <a:ext cx="3239589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9753386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8840" y="1"/>
            <a:ext cx="8917432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z="1600" smtClean="0">
                <a:solidFill>
                  <a:srgbClr val="0070BA"/>
                </a:solidFill>
              </a:rPr>
              <a:pPr/>
              <a:t>‹#›</a:t>
            </a:fld>
            <a:endParaRPr lang="ru-RU" sz="1600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5068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9906000" cy="7003102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09005" y="1425717"/>
            <a:ext cx="4540180" cy="13454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09005" y="2987958"/>
            <a:ext cx="4540180" cy="10271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1631605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226000" y="1262918"/>
            <a:ext cx="4680000" cy="514793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21093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680000" cy="823912"/>
          </a:xfrm>
          <a:solidFill>
            <a:srgbClr val="4B87C3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680000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680000" cy="4197176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17693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58105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8636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464" y="1425717"/>
            <a:ext cx="4540180" cy="13454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9464" y="2987958"/>
            <a:ext cx="4540180" cy="10271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Заголовок 1"/>
          <p:cNvSpPr txBox="1">
            <a:spLocks/>
          </p:cNvSpPr>
          <p:nvPr userDrawn="1"/>
        </p:nvSpPr>
        <p:spPr>
          <a:xfrm>
            <a:off x="451539" y="981709"/>
            <a:ext cx="4612989" cy="660253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ОБРАЗЕЦ ЗАГОЛОВКА</a:t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0"/>
          </p:nvPr>
        </p:nvSpPr>
        <p:spPr>
          <a:xfrm>
            <a:off x="451539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Прямоугольник 14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0" y="9220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Скругленный прямоугольник 8"/>
          <p:cNvSpPr/>
          <p:nvPr userDrawn="1"/>
        </p:nvSpPr>
        <p:spPr>
          <a:xfrm>
            <a:off x="9056914" y="6066971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785290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4" y="1303838"/>
            <a:ext cx="4438965" cy="50588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0" y="1303837"/>
            <a:ext cx="5076823" cy="505886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34266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4111188"/>
            <a:ext cx="9905999" cy="22996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95454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53070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38839" y="1"/>
            <a:ext cx="9467161" cy="105761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000" b="1" kern="1200">
                <a:solidFill>
                  <a:srgbClr val="32507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F5EC8D3-0A62-489F-A821-21BE1C36CA86}" type="slidenum">
              <a:rPr lang="ru-RU" smtClean="0">
                <a:solidFill>
                  <a:srgbClr val="0070BA"/>
                </a:solidFill>
              </a:rPr>
              <a:pPr/>
              <a:t>‹#›</a:t>
            </a:fld>
            <a:endParaRPr lang="ru-RU" dirty="0">
              <a:solidFill>
                <a:srgbClr val="0070BA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1" y="1303837"/>
            <a:ext cx="9906000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0" y="4111188"/>
            <a:ext cx="9905999" cy="22996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290090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981709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8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5232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 userDrawn="1"/>
        </p:nvSpPr>
        <p:spPr>
          <a:xfrm>
            <a:off x="0" y="913856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0"/>
            <a:ext cx="4972050" cy="4391025"/>
          </a:xfrm>
          <a:prstGeom prst="rect">
            <a:avLst/>
          </a:prstGeom>
          <a:solidFill>
            <a:srgbClr val="006DB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Прямоугольник 15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981709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8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20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  <p:sp>
        <p:nvSpPr>
          <p:cNvPr id="2" name="Скругленный прямоугольник 1"/>
          <p:cNvSpPr/>
          <p:nvPr userDrawn="1"/>
        </p:nvSpPr>
        <p:spPr>
          <a:xfrm>
            <a:off x="9056914" y="6066971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35928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906000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2459395"/>
            <a:ext cx="4133810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rgbClr val="0070BA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34599" y="3320041"/>
            <a:ext cx="327125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0070B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9109202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02278" y="6305542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43131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464" y="1425717"/>
            <a:ext cx="4540180" cy="13454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9464" y="2987958"/>
            <a:ext cx="4540180" cy="10271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Заголовок 1"/>
          <p:cNvSpPr txBox="1">
            <a:spLocks/>
          </p:cNvSpPr>
          <p:nvPr userDrawn="1"/>
        </p:nvSpPr>
        <p:spPr>
          <a:xfrm>
            <a:off x="451539" y="981709"/>
            <a:ext cx="4612989" cy="660253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dirty="0" smtClean="0">
                <a:solidFill>
                  <a:srgbClr val="FFFFFF"/>
                </a:solidFill>
                <a:latin typeface="Circe Bold"/>
              </a:rPr>
              <a:t>ОБРАЗЕЦ ЗАГОЛОВКА</a:t>
            </a:r>
            <a:br>
              <a:rPr lang="ru-RU" b="1" dirty="0" smtClean="0">
                <a:solidFill>
                  <a:srgbClr val="FFFFFF"/>
                </a:solidFill>
                <a:latin typeface="Circe Bold"/>
              </a:rPr>
            </a:br>
            <a:endParaRPr lang="ru-RU" b="1" dirty="0">
              <a:solidFill>
                <a:srgbClr val="FFFFFF"/>
              </a:solidFill>
              <a:latin typeface="Circe Bold"/>
            </a:endParaRPr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0"/>
          </p:nvPr>
        </p:nvSpPr>
        <p:spPr>
          <a:xfrm>
            <a:off x="451539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Прямоугольник 14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0" y="9220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кругленный прямоугольник 8"/>
          <p:cNvSpPr/>
          <p:nvPr userDrawn="1"/>
        </p:nvSpPr>
        <p:spPr>
          <a:xfrm>
            <a:off x="9056914" y="6066971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58106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396397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0" y="1262918"/>
            <a:ext cx="4537075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68742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501487" cy="823912"/>
          </a:xfrm>
          <a:solidFill>
            <a:schemeClr val="accent4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501487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264075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264075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1767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396397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0" y="1262918"/>
            <a:ext cx="4537075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1069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34902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0629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5" y="1303839"/>
            <a:ext cx="4413250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9" y="1303838"/>
            <a:ext cx="4500562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33460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8" y="3864970"/>
            <a:ext cx="9037637" cy="233580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7" y="1303837"/>
            <a:ext cx="4502103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535534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931032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9" y="1303837"/>
            <a:ext cx="9037636" cy="23271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452438" y="3795624"/>
            <a:ext cx="9037635" cy="24051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108391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452438" y="460302"/>
            <a:ext cx="3583032" cy="433965"/>
          </a:xfrm>
          <a:prstGeom prst="rect">
            <a:avLst/>
          </a:prstGeom>
        </p:spPr>
        <p:txBody>
          <a:bodyPr vert="horz" lIns="0" tIns="45720" rIns="91440" bIns="45720" rtlCol="0" anchor="b">
            <a:normAutofit fontScale="925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Контактная информация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0"/>
          </p:nvPr>
        </p:nvSpPr>
        <p:spPr>
          <a:xfrm>
            <a:off x="4953000" y="1322388"/>
            <a:ext cx="4537075" cy="45720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8" name="Объект 16"/>
          <p:cNvSpPr>
            <a:spLocks noGrp="1"/>
          </p:cNvSpPr>
          <p:nvPr>
            <p:ph sz="quarter" idx="12"/>
          </p:nvPr>
        </p:nvSpPr>
        <p:spPr>
          <a:xfrm>
            <a:off x="452437" y="1322387"/>
            <a:ext cx="4502103" cy="457200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328311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F6281A-6EDA-4FD9-B6F2-B8656D675024}" type="datetime1">
              <a:rPr lang="ru-RU">
                <a:solidFill>
                  <a:prstClr val="black"/>
                </a:solidFill>
              </a:rPr>
              <a:pPr>
                <a:defRPr/>
              </a:pPr>
              <a:t>10.11.202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594600" y="6492876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B9089-36A1-47D2-9E03-1547F9E50514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0116536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0452E8-FEB8-4397-B766-D25A2D77765F}" type="datetime1">
              <a:rPr lang="ru-RU">
                <a:solidFill>
                  <a:prstClr val="black"/>
                </a:solidFill>
              </a:rPr>
              <a:pPr>
                <a:defRPr/>
              </a:pPr>
              <a:t>10.11.202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594600" y="6492876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7B0355-D2E8-4755-B33A-16FCA616D2FB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672265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981709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8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3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5821561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/>
          <p:cNvSpPr/>
          <p:nvPr userDrawn="1"/>
        </p:nvSpPr>
        <p:spPr>
          <a:xfrm>
            <a:off x="0" y="913856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0" y="0"/>
            <a:ext cx="4972050" cy="4391025"/>
          </a:xfrm>
          <a:prstGeom prst="rect">
            <a:avLst/>
          </a:prstGeom>
          <a:solidFill>
            <a:srgbClr val="006DB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1031" name="Picture 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" name="Прямоугольник 15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981709"/>
            <a:ext cx="4341631" cy="660253"/>
          </a:xfrm>
          <a:noFill/>
        </p:spPr>
        <p:txBody>
          <a:bodyPr lIns="0" anchor="b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12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52438" y="1842355"/>
            <a:ext cx="3461235" cy="637766"/>
          </a:xfrm>
        </p:spPr>
        <p:txBody>
          <a:bodyPr lIns="0"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20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  <p:sp>
        <p:nvSpPr>
          <p:cNvPr id="2" name="Скругленный прямоугольник 1"/>
          <p:cNvSpPr/>
          <p:nvPr userDrawn="1"/>
        </p:nvSpPr>
        <p:spPr>
          <a:xfrm>
            <a:off x="9056914" y="6066971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042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501487" cy="823912"/>
          </a:xfrm>
          <a:solidFill>
            <a:schemeClr val="accent4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501487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264075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264075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0177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9906000" cy="6858001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2438" y="2459395"/>
            <a:ext cx="4133810" cy="660253"/>
          </a:xfrm>
          <a:noFill/>
        </p:spPr>
        <p:txBody>
          <a:bodyPr anchor="b">
            <a:normAutofit/>
          </a:bodyPr>
          <a:lstStyle>
            <a:lvl1pPr algn="l">
              <a:defRPr sz="2400">
                <a:solidFill>
                  <a:srgbClr val="0070BA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34599" y="3320041"/>
            <a:ext cx="327125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rgbClr val="0070B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</a:p>
        </p:txBody>
      </p:sp>
      <p:cxnSp>
        <p:nvCxnSpPr>
          <p:cNvPr id="6" name="Прямая соединительная линия 5"/>
          <p:cNvCxnSpPr/>
          <p:nvPr userDrawn="1"/>
        </p:nvCxnSpPr>
        <p:spPr>
          <a:xfrm>
            <a:off x="452438" y="5826034"/>
            <a:ext cx="1623497" cy="0"/>
          </a:xfrm>
          <a:prstGeom prst="line">
            <a:avLst/>
          </a:prstGeom>
          <a:ln>
            <a:solidFill>
              <a:srgbClr val="5961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екст 10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5399903"/>
            <a:ext cx="3400425" cy="426222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smtClean="0"/>
              <a:t>Фамилия, имя, отчество</a:t>
            </a:r>
            <a:endParaRPr lang="ru-RU" dirty="0"/>
          </a:p>
        </p:txBody>
      </p:sp>
      <p:sp>
        <p:nvSpPr>
          <p:cNvPr id="12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5826034"/>
            <a:ext cx="3400425" cy="374741"/>
          </a:xfrm>
        </p:spPr>
        <p:txBody>
          <a:bodyPr anchor="ctr">
            <a:normAutofit/>
          </a:bodyPr>
          <a:lstStyle>
            <a:lvl1pPr>
              <a:defRPr sz="1200" b="0" i="0" baseline="0">
                <a:solidFill>
                  <a:schemeClr val="tx1">
                    <a:lumMod val="75000"/>
                    <a:lumOff val="25000"/>
                  </a:schemeClr>
                </a:solidFill>
                <a:latin typeface="Circe Light" charset="0"/>
                <a:ea typeface="Circe Light" charset="0"/>
                <a:cs typeface="Circe Light" charset="0"/>
              </a:defRPr>
            </a:lvl1pPr>
          </a:lstStyle>
          <a:p>
            <a:pPr lvl="0"/>
            <a:r>
              <a:rPr lang="ru-RU" dirty="0" smtClean="0"/>
              <a:t>Должность / дата / комментарий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525896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02278" y="6305542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4927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464" y="1425717"/>
            <a:ext cx="4540180" cy="1345473"/>
          </a:xfrm>
        </p:spPr>
        <p:txBody>
          <a:bodyPr anchor="b">
            <a:norm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br>
              <a:rPr lang="ru-RU" dirty="0" smtClean="0"/>
            </a:b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79464" y="2987958"/>
            <a:ext cx="4540180" cy="1027183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Заголовок 1"/>
          <p:cNvSpPr txBox="1">
            <a:spLocks/>
          </p:cNvSpPr>
          <p:nvPr userDrawn="1"/>
        </p:nvSpPr>
        <p:spPr>
          <a:xfrm>
            <a:off x="451539" y="981709"/>
            <a:ext cx="4612989" cy="660253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pPr>
              <a:lnSpc>
                <a:spcPct val="90000"/>
              </a:lnSpc>
              <a:spcBef>
                <a:spcPct val="0"/>
              </a:spcBef>
              <a:defRPr/>
            </a:pPr>
            <a:r>
              <a:rPr lang="ru-RU" b="1" dirty="0" smtClean="0">
                <a:solidFill>
                  <a:srgbClr val="FFFFFF"/>
                </a:solidFill>
                <a:latin typeface="Circe Bold"/>
              </a:rPr>
              <a:t>ОБРАЗЕЦ ЗАГОЛОВКА</a:t>
            </a:r>
            <a:br>
              <a:rPr lang="ru-RU" b="1" dirty="0" smtClean="0">
                <a:solidFill>
                  <a:srgbClr val="FFFFFF"/>
                </a:solidFill>
                <a:latin typeface="Circe Bold"/>
              </a:rPr>
            </a:br>
            <a:endParaRPr lang="ru-RU" b="1" dirty="0">
              <a:solidFill>
                <a:srgbClr val="FFFFFF"/>
              </a:solidFill>
              <a:latin typeface="Circe Bold"/>
            </a:endParaRPr>
          </a:p>
        </p:txBody>
      </p:sp>
      <p:sp>
        <p:nvSpPr>
          <p:cNvPr id="11" name="Подзаголовок 2"/>
          <p:cNvSpPr>
            <a:spLocks noGrp="1"/>
          </p:cNvSpPr>
          <p:nvPr>
            <p:ph type="subTitle" idx="10"/>
          </p:nvPr>
        </p:nvSpPr>
        <p:spPr>
          <a:xfrm>
            <a:off x="451539" y="1842355"/>
            <a:ext cx="3732593" cy="637766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 dirty="0" smtClean="0"/>
          </a:p>
        </p:txBody>
      </p:sp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25" y="4391025"/>
            <a:ext cx="9925050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Прямоугольник 14"/>
          <p:cNvSpPr/>
          <p:nvPr userDrawn="1"/>
        </p:nvSpPr>
        <p:spPr>
          <a:xfrm>
            <a:off x="0" y="65989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0" y="922020"/>
            <a:ext cx="9906000" cy="2590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Скругленный прямоугольник 8"/>
          <p:cNvSpPr/>
          <p:nvPr userDrawn="1"/>
        </p:nvSpPr>
        <p:spPr>
          <a:xfrm>
            <a:off x="9056914" y="6066971"/>
            <a:ext cx="551543" cy="531949"/>
          </a:xfrm>
          <a:prstGeom prst="round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23704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38839" y="1262918"/>
            <a:ext cx="4396397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0" y="1262918"/>
            <a:ext cx="4537075" cy="49378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729516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1513" y="1262247"/>
            <a:ext cx="4501487" cy="823912"/>
          </a:xfrm>
          <a:solidFill>
            <a:schemeClr val="accent4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1513" y="2213672"/>
            <a:ext cx="4501487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226000" y="1262247"/>
            <a:ext cx="4264075" cy="823912"/>
          </a:xfrm>
          <a:solidFill>
            <a:srgbClr val="BBBBBB"/>
          </a:solidFill>
        </p:spPr>
        <p:txBody>
          <a:bodyPr anchor="b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226000" y="2213672"/>
            <a:ext cx="4264075" cy="398710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9650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066676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719804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5076825" y="1303839"/>
            <a:ext cx="4413250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9" y="1303838"/>
            <a:ext cx="4500562" cy="48969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823534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8" y="3864970"/>
            <a:ext cx="9037637" cy="233580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7" name="Объект 16"/>
          <p:cNvSpPr>
            <a:spLocks noGrp="1"/>
          </p:cNvSpPr>
          <p:nvPr>
            <p:ph sz="quarter" idx="12"/>
          </p:nvPr>
        </p:nvSpPr>
        <p:spPr>
          <a:xfrm>
            <a:off x="452437" y="1303837"/>
            <a:ext cx="4502103" cy="2561133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Объект 16"/>
          <p:cNvSpPr>
            <a:spLocks noGrp="1"/>
          </p:cNvSpPr>
          <p:nvPr>
            <p:ph sz="quarter" idx="13"/>
          </p:nvPr>
        </p:nvSpPr>
        <p:spPr>
          <a:xfrm>
            <a:off x="4954541" y="1303837"/>
            <a:ext cx="4535534" cy="256113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12725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над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Текст 14"/>
          <p:cNvSpPr>
            <a:spLocks noGrp="1"/>
          </p:cNvSpPr>
          <p:nvPr>
            <p:ph type="body" sz="quarter" idx="11"/>
          </p:nvPr>
        </p:nvSpPr>
        <p:spPr>
          <a:xfrm>
            <a:off x="452439" y="1303837"/>
            <a:ext cx="9037636" cy="2327175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Объект 16"/>
          <p:cNvSpPr>
            <a:spLocks noGrp="1"/>
          </p:cNvSpPr>
          <p:nvPr>
            <p:ph sz="quarter" idx="14"/>
          </p:nvPr>
        </p:nvSpPr>
        <p:spPr>
          <a:xfrm>
            <a:off x="452438" y="3795624"/>
            <a:ext cx="9037635" cy="240515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122677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lIns="0"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304827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452438" y="460302"/>
            <a:ext cx="3583032" cy="433965"/>
          </a:xfrm>
          <a:prstGeom prst="rect">
            <a:avLst/>
          </a:prstGeom>
        </p:spPr>
        <p:txBody>
          <a:bodyPr vert="horz" lIns="0" tIns="45720" rIns="91440" bIns="45720" rtlCol="0" anchor="b">
            <a:normAutofit fontScale="92500"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1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/>
              <a:t>Контактная информация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0"/>
          </p:nvPr>
        </p:nvSpPr>
        <p:spPr>
          <a:xfrm>
            <a:off x="4953000" y="1322388"/>
            <a:ext cx="4537075" cy="4572000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8" name="Объект 16"/>
          <p:cNvSpPr>
            <a:spLocks noGrp="1"/>
          </p:cNvSpPr>
          <p:nvPr>
            <p:ph sz="quarter" idx="12"/>
          </p:nvPr>
        </p:nvSpPr>
        <p:spPr>
          <a:xfrm>
            <a:off x="452437" y="1322387"/>
            <a:ext cx="4502103" cy="4572001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3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515767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F6281A-6EDA-4FD9-B6F2-B8656D675024}" type="datetime1">
              <a:rPr lang="ru-RU">
                <a:solidFill>
                  <a:prstClr val="black"/>
                </a:solidFill>
              </a:rPr>
              <a:pPr>
                <a:defRPr/>
              </a:pPr>
              <a:t>10.11.202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594600" y="6492876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B9089-36A1-47D2-9E03-1547F9E50514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3910837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0452E8-FEB8-4397-B766-D25A2D77765F}" type="datetime1">
              <a:rPr lang="ru-RU">
                <a:solidFill>
                  <a:prstClr val="black"/>
                </a:solidFill>
              </a:rPr>
              <a:pPr>
                <a:defRPr/>
              </a:pPr>
              <a:t>10.11.202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594600" y="6492876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7B0355-D2E8-4755-B33A-16FCA616D2FB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257820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452438" y="6200775"/>
            <a:ext cx="8501062" cy="414338"/>
          </a:xfrm>
        </p:spPr>
        <p:txBody>
          <a:bodyPr anchor="ctr">
            <a:normAutofit/>
          </a:bodyPr>
          <a:lstStyle>
            <a:lvl1pPr algn="l">
              <a:defRPr sz="1050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Примечания</a:t>
            </a:r>
            <a:r>
              <a:rPr lang="ru-RU" smtClean="0"/>
              <a:t>, источники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06419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54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69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38839" y="999574"/>
            <a:ext cx="9467161" cy="45719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0" dirty="0" smtClean="0">
                <a:solidFill>
                  <a:schemeClr val="bg1"/>
                </a:solidFill>
              </a:rPr>
              <a:t>www.rosenergoatom.ru</a:t>
            </a:r>
            <a:endParaRPr lang="ru-RU" sz="1000" b="0" dirty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39" y="1225899"/>
            <a:ext cx="9467161" cy="497433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Номер слайда 1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8135051" y="6200235"/>
            <a:ext cx="1536170" cy="419222"/>
          </a:xfrm>
          <a:prstGeom prst="rect">
            <a:avLst/>
          </a:prstGeom>
          <a:noFill/>
        </p:spPr>
        <p:txBody>
          <a:bodyPr vert="horz" lIns="182868" tIns="91434" rIns="182868" bIns="91434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1200" b="0" i="0">
                <a:solidFill>
                  <a:schemeClr val="accent4"/>
                </a:solidFill>
                <a:latin typeface="+mn-lt"/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1200" b="0" i="0" dirty="0">
              <a:solidFill>
                <a:schemeClr val="accent4"/>
              </a:solidFill>
              <a:latin typeface="+mn-lt"/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6148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832" r:id="rId2"/>
    <p:sldLayoutId id="214748383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3" r:id="rId11"/>
    <p:sldLayoutId id="2147483754" r:id="rId12"/>
    <p:sldLayoutId id="2147483834" r:id="rId13"/>
    <p:sldLayoutId id="2147483909" r:id="rId14"/>
    <p:sldLayoutId id="2147483910" r:id="rId15"/>
    <p:sldLayoutId id="2147483911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616767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5" userDrawn="1">
          <p15:clr>
            <a:srgbClr val="F26B43"/>
          </p15:clr>
        </p15:guide>
        <p15:guide id="2" orient="horz" pos="255" userDrawn="1">
          <p15:clr>
            <a:srgbClr val="F26B43"/>
          </p15:clr>
        </p15:guide>
        <p15:guide id="3" pos="5978" userDrawn="1">
          <p15:clr>
            <a:srgbClr val="F26B43"/>
          </p15:clr>
        </p15:guide>
        <p15:guide id="4" pos="3120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8839" y="222072"/>
            <a:ext cx="9467161" cy="10576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38839" y="999574"/>
            <a:ext cx="9467161" cy="45719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rgbClr val="FFFFFF"/>
                </a:solidFill>
              </a:rPr>
              <a:t>www.rosenergoatom.ru</a:t>
            </a:r>
            <a:endParaRPr lang="ru-RU" sz="1000" dirty="0">
              <a:solidFill>
                <a:srgbClr val="FFFFFF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40" y="1225899"/>
            <a:ext cx="9467160" cy="5172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033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8839" y="222072"/>
            <a:ext cx="9467161" cy="10576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38839" y="999574"/>
            <a:ext cx="9467161" cy="45719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rgbClr val="FFFFFF"/>
                </a:solidFill>
              </a:rPr>
              <a:t>www.rosenergoatom.ru</a:t>
            </a:r>
            <a:endParaRPr lang="ru-RU" sz="1000" dirty="0">
              <a:solidFill>
                <a:srgbClr val="FFFFFF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40" y="1225899"/>
            <a:ext cx="9467160" cy="5172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59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  <p:sldLayoutId id="21474838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38839" y="222072"/>
            <a:ext cx="9467161" cy="10576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421218" y="6410848"/>
            <a:ext cx="484782" cy="22130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1">
                <a:solidFill>
                  <a:srgbClr val="0070BA"/>
                </a:solidFill>
              </a:defRPr>
            </a:lvl1pPr>
          </a:lstStyle>
          <a:p>
            <a:fld id="{7F5EC8D3-0A62-489F-A821-21BE1C36CA8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38839" y="999574"/>
            <a:ext cx="9467161" cy="45719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rgbClr val="FFFFFF"/>
                </a:solidFill>
              </a:rPr>
              <a:t>www.rosenergoatom.ru</a:t>
            </a:r>
            <a:endParaRPr lang="ru-RU" sz="1000" dirty="0">
              <a:solidFill>
                <a:srgbClr val="FFFFFF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40" y="1225899"/>
            <a:ext cx="9467160" cy="51722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8335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2" r:id="rId1"/>
    <p:sldLayoutId id="2147483863" r:id="rId2"/>
    <p:sldLayoutId id="2147483864" r:id="rId3"/>
    <p:sldLayoutId id="2147483865" r:id="rId4"/>
    <p:sldLayoutId id="2147483866" r:id="rId5"/>
    <p:sldLayoutId id="2147483867" r:id="rId6"/>
    <p:sldLayoutId id="2147483868" r:id="rId7"/>
    <p:sldLayoutId id="2147483869" r:id="rId8"/>
    <p:sldLayoutId id="2147483870" r:id="rId9"/>
    <p:sldLayoutId id="2147483871" r:id="rId10"/>
    <p:sldLayoutId id="2147483872" r:id="rId11"/>
    <p:sldLayoutId id="2147483873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38839" y="999574"/>
            <a:ext cx="9467161" cy="45719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rgbClr val="FFFFFF"/>
                </a:solidFill>
              </a:rPr>
              <a:t>www.rosenergoatom.ru</a:t>
            </a:r>
            <a:endParaRPr lang="ru-RU" sz="1000" dirty="0">
              <a:solidFill>
                <a:srgbClr val="FFFFFF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39" y="1225899"/>
            <a:ext cx="9467161" cy="497433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Номер слайда 1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8135051" y="6200235"/>
            <a:ext cx="1536170" cy="419222"/>
          </a:xfrm>
          <a:prstGeom prst="rect">
            <a:avLst/>
          </a:prstGeom>
          <a:noFill/>
        </p:spPr>
        <p:txBody>
          <a:bodyPr vert="horz" lIns="182868" tIns="91434" rIns="182868" bIns="91434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1200">
                <a:solidFill>
                  <a:srgbClr val="0070C0"/>
                </a:solidFill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1200" dirty="0">
              <a:solidFill>
                <a:srgbClr val="0070C0"/>
              </a:solidFill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6158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  <p:sldLayoutId id="2147483889" r:id="rId12"/>
    <p:sldLayoutId id="2147483890" r:id="rId13"/>
    <p:sldLayoutId id="2147483891" r:id="rId14"/>
    <p:sldLayoutId id="2147483892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616767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5" userDrawn="1">
          <p15:clr>
            <a:srgbClr val="F26B43"/>
          </p15:clr>
        </p15:guide>
        <p15:guide id="2" orient="horz" pos="255" userDrawn="1">
          <p15:clr>
            <a:srgbClr val="F26B43"/>
          </p15:clr>
        </p15:guide>
        <p15:guide id="3" pos="5978" userDrawn="1">
          <p15:clr>
            <a:srgbClr val="F26B43"/>
          </p15:clr>
        </p15:guide>
        <p15:guide id="4" pos="3120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438" y="404812"/>
            <a:ext cx="9037637" cy="489455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438839" y="999574"/>
            <a:ext cx="9467161" cy="45719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0" y="6632154"/>
            <a:ext cx="9906000" cy="225846"/>
          </a:xfrm>
          <a:prstGeom prst="rect">
            <a:avLst/>
          </a:prstGeom>
          <a:solidFill>
            <a:srgbClr val="0070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219319" y="6624476"/>
            <a:ext cx="15780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rgbClr val="FFFFFF"/>
                </a:solidFill>
              </a:rPr>
              <a:t>www.rosenergoatom.ru</a:t>
            </a:r>
            <a:endParaRPr lang="ru-RU" sz="1000" dirty="0">
              <a:solidFill>
                <a:srgbClr val="FFFFFF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38839" y="1225899"/>
            <a:ext cx="9467161" cy="497433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770709"/>
            <a:ext cx="438839" cy="45519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Номер слайда 1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8135051" y="6200235"/>
            <a:ext cx="1536170" cy="419222"/>
          </a:xfrm>
          <a:prstGeom prst="rect">
            <a:avLst/>
          </a:prstGeom>
          <a:noFill/>
        </p:spPr>
        <p:txBody>
          <a:bodyPr vert="horz" lIns="182868" tIns="91434" rIns="182868" bIns="91434" rtlCol="0" anchor="ctr"/>
          <a:lstStyle/>
          <a:p>
            <a:pPr algn="r">
              <a:buClr>
                <a:srgbClr val="5F5F5F"/>
              </a:buClr>
              <a:defRPr/>
            </a:pPr>
            <a:fld id="{20C6706C-9441-4943-A35C-A5B0CF2E5464}" type="slidenum">
              <a:rPr lang="ru-RU" altLang="ru-RU" sz="1200">
                <a:solidFill>
                  <a:srgbClr val="0070C0"/>
                </a:solidFill>
                <a:ea typeface="Arial Обычный" charset="0"/>
                <a:cs typeface="Arial Обычный" charset="0"/>
              </a:rPr>
              <a:pPr algn="r">
                <a:buClr>
                  <a:srgbClr val="5F5F5F"/>
                </a:buClr>
                <a:defRPr/>
              </a:pPr>
              <a:t>‹#›</a:t>
            </a:fld>
            <a:endParaRPr lang="ru-RU" altLang="ru-RU" sz="1200" dirty="0">
              <a:solidFill>
                <a:srgbClr val="0070C0"/>
              </a:solidFill>
              <a:ea typeface="Arial Обычный" charset="0"/>
              <a:cs typeface="Arial Обычный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832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3895" r:id="rId2"/>
    <p:sldLayoutId id="2147483896" r:id="rId3"/>
    <p:sldLayoutId id="2147483897" r:id="rId4"/>
    <p:sldLayoutId id="2147483898" r:id="rId5"/>
    <p:sldLayoutId id="2147483899" r:id="rId6"/>
    <p:sldLayoutId id="2147483900" r:id="rId7"/>
    <p:sldLayoutId id="2147483901" r:id="rId8"/>
    <p:sldLayoutId id="2147483902" r:id="rId9"/>
    <p:sldLayoutId id="2147483903" r:id="rId10"/>
    <p:sldLayoutId id="2147483904" r:id="rId11"/>
    <p:sldLayoutId id="2147483905" r:id="rId12"/>
    <p:sldLayoutId id="2147483906" r:id="rId13"/>
    <p:sldLayoutId id="2147483907" r:id="rId14"/>
    <p:sldLayoutId id="2147483908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kern="1200">
          <a:solidFill>
            <a:srgbClr val="616767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rgbClr val="616767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5" userDrawn="1">
          <p15:clr>
            <a:srgbClr val="F26B43"/>
          </p15:clr>
        </p15:guide>
        <p15:guide id="2" orient="horz" pos="255" userDrawn="1">
          <p15:clr>
            <a:srgbClr val="F26B43"/>
          </p15:clr>
        </p15:guide>
        <p15:guide id="3" pos="5978" userDrawn="1">
          <p15:clr>
            <a:srgbClr val="F26B43"/>
          </p15:clr>
        </p15:guide>
        <p15:guide id="4" pos="3120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4.xml"/><Relationship Id="rId4" Type="http://schemas.microsoft.com/office/2007/relationships/hdphoto" Target="../media/hdphoto2.wdp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4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52436" y="2831082"/>
            <a:ext cx="7565407" cy="1400759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ru-RU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ВНЕДРЕНИЕ СИСТЕМЫ </a:t>
            </a:r>
            <a:r>
              <a:rPr lang="ru-RU" dirty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ВИДЕОАНАЛИЗА СОБЛЮДЕНИЯ ТЕХНИКИ </a:t>
            </a:r>
            <a:r>
              <a:rPr lang="ru-RU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БЕЗОПАСНОСТИ </a:t>
            </a:r>
            <a:r>
              <a:rPr lang="ru-RU" dirty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И ПРОМЫШЛЕННОЙ </a:t>
            </a:r>
            <a:r>
              <a:rPr lang="ru-RU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  <a:t>БЕЗОПАСНОСТИ</a:t>
            </a:r>
            <a:br>
              <a:rPr lang="ru-RU" dirty="0" smtClean="0">
                <a:solidFill>
                  <a:schemeClr val="accent4"/>
                </a:solidFill>
                <a:latin typeface="Arial" pitchFamily="34" charset="0"/>
                <a:cs typeface="Arial" pitchFamily="34" charset="0"/>
              </a:rPr>
            </a:br>
            <a:r>
              <a:rPr lang="ru-RU" dirty="0">
                <a:latin typeface="Arial" pitchFamily="34" charset="0"/>
                <a:cs typeface="Arial" pitchFamily="34" charset="0"/>
              </a:rPr>
              <a:t/>
            </a:r>
            <a:br>
              <a:rPr lang="ru-RU" dirty="0">
                <a:latin typeface="Arial" pitchFamily="34" charset="0"/>
                <a:cs typeface="Arial" pitchFamily="34" charset="0"/>
              </a:rPr>
            </a:br>
            <a:r>
              <a:rPr lang="ru-RU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</a:br>
            <a:r>
              <a:rPr lang="ru-RU" dirty="0">
                <a:latin typeface="Arial" pitchFamily="34" charset="0"/>
                <a:cs typeface="Arial" pitchFamily="34" charset="0"/>
              </a:rPr>
              <a:t/>
            </a:r>
            <a:br>
              <a:rPr lang="ru-RU" dirty="0">
                <a:latin typeface="Arial" pitchFamily="34" charset="0"/>
                <a:cs typeface="Arial" pitchFamily="34" charset="0"/>
              </a:rPr>
            </a:br>
            <a:r>
              <a:rPr lang="ru-RU" dirty="0" smtClean="0">
                <a:latin typeface="Arial" pitchFamily="34" charset="0"/>
                <a:cs typeface="Arial" pitchFamily="34" charset="0"/>
              </a:rPr>
              <a:t/>
            </a:r>
            <a:br>
              <a:rPr lang="ru-RU" dirty="0" smtClean="0">
                <a:latin typeface="Arial" pitchFamily="34" charset="0"/>
                <a:cs typeface="Arial" pitchFamily="34" charset="0"/>
              </a:rPr>
            </a:br>
            <a:endParaRPr lang="ru-RU" i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5533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51343" y="407016"/>
            <a:ext cx="9344240" cy="750206"/>
          </a:xfrm>
        </p:spPr>
        <p:txBody>
          <a:bodyPr vert="horz" lIns="74295" tIns="37148" rIns="74295" bIns="37148" rtlCol="0" anchor="ctr">
            <a:noAutofit/>
          </a:bodyPr>
          <a:lstStyle/>
          <a:p>
            <a: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гирование на выявленные событи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38839"/>
          <a:stretch/>
        </p:blipFill>
        <p:spPr>
          <a:xfrm>
            <a:off x="437069" y="3014760"/>
            <a:ext cx="1720335" cy="1402904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2255931" y="1197942"/>
            <a:ext cx="7188964" cy="12341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50" indent="-6350" algn="ctr">
              <a:lnSpc>
                <a:spcPct val="115000"/>
              </a:lnSpc>
              <a:spcAft>
                <a:spcPts val="0"/>
              </a:spcAft>
            </a:pP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ервый этап реагирования </a:t>
            </a:r>
            <a:endParaRPr lang="ru-RU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>
              <a:lnSpc>
                <a:spcPct val="115000"/>
              </a:lnSpc>
              <a:spcAft>
                <a:spcPts val="0"/>
              </a:spcAft>
            </a:pP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algn="just"/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онтроль осуществляют руководители смен (НСЭЦ (ДЭМ ЦЩУ), ОИ-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2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ЭЦ, НСЦТАИ-1,2, НСБ, НСАЭС) с правами «Оператор»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 целью оперативного оповещения персонала,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вершившего нарушение правил применения СИЗ в КРУ. 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255930" y="3014760"/>
            <a:ext cx="7188963" cy="12341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525" indent="-9525" algn="ctr">
              <a:lnSpc>
                <a:spcPct val="115000"/>
              </a:lnSpc>
              <a:spcAft>
                <a:spcPts val="0"/>
              </a:spcAft>
            </a:pP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торой этап реагирования </a:t>
            </a:r>
            <a:endParaRPr lang="ru-RU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15000"/>
              </a:lnSpc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ru-RU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ТП (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Н, ВИэ)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ехов (ЭЦ, ЦТАИ) на правах «Руководителей» 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идентифицируют события, получаемые </a:t>
            </a: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средством ПО 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«СВС ТБ и ПБ</a:t>
            </a:r>
            <a:r>
              <a:rPr lang="ru-RU" sz="1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 или </a:t>
            </a:r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а электронную </a:t>
            </a:r>
            <a:r>
              <a:rPr lang="ru-RU" sz="1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почту,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как нарушения</a:t>
            </a:r>
            <a:r>
              <a:rPr lang="ru-RU" sz="1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255931" y="4835257"/>
            <a:ext cx="7188962" cy="10187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ru-RU" sz="14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ретий этап реагирования </a:t>
            </a:r>
            <a:endParaRPr lang="ru-RU" sz="1400" b="1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457200">
              <a:lnSpc>
                <a:spcPct val="115000"/>
              </a:lnSpc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lang="ru-RU" sz="1400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400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Персонал ОИиКОБ, ОТИиПБ, ООТ с правами «</a:t>
            </a:r>
            <a:r>
              <a:rPr lang="ru-RU" sz="1400" dirty="0" smtClean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уководитель</a:t>
            </a:r>
            <a:r>
              <a:rPr lang="ru-RU" sz="14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 проверяет правильность идентификации в Системе событий как нарушений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070" y="4835257"/>
            <a:ext cx="1720335" cy="140299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7068" y="1311262"/>
            <a:ext cx="1720335" cy="1402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813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3C5DDD8-0418-E04C-8B06-EA1CB5EA5FBC}"/>
              </a:ext>
            </a:extLst>
          </p:cNvPr>
          <p:cNvSpPr/>
          <p:nvPr/>
        </p:nvSpPr>
        <p:spPr>
          <a:xfrm>
            <a:off x="1251049" y="1535734"/>
            <a:ext cx="6847330" cy="2725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396"/>
              </a:spcAft>
            </a:pPr>
            <a:r>
              <a:rPr lang="ru-RU" sz="1301" b="1" dirty="0">
                <a:latin typeface="Arial" panose="020B0604020202020204" pitchFamily="34" charset="0"/>
                <a:cs typeface="Arial" panose="020B0604020202020204" pitchFamily="34" charset="0"/>
              </a:rPr>
              <a:t>Период опытной эксплуатации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2923100"/>
              </p:ext>
            </p:extLst>
          </p:nvPr>
        </p:nvGraphicFramePr>
        <p:xfrm>
          <a:off x="1016000" y="1791041"/>
          <a:ext cx="7985760" cy="15616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8640">
                  <a:extLst>
                    <a:ext uri="{9D8B030D-6E8A-4147-A177-3AD203B41FA5}">
                      <a16:colId xmlns:a16="http://schemas.microsoft.com/office/drawing/2014/main" val="2264269191"/>
                    </a:ext>
                  </a:extLst>
                </a:gridCol>
                <a:gridCol w="4389120">
                  <a:extLst>
                    <a:ext uri="{9D8B030D-6E8A-4147-A177-3AD203B41FA5}">
                      <a16:colId xmlns:a16="http://schemas.microsoft.com/office/drawing/2014/main" val="1816690474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val="2970784072"/>
                    </a:ext>
                  </a:extLst>
                </a:gridCol>
              </a:tblGrid>
              <a:tr h="520547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№ п/п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Месяц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Количество </a:t>
                      </a:r>
                      <a:r>
                        <a:rPr lang="ru-RU" sz="1000" baseline="0" dirty="0" smtClean="0"/>
                        <a:t>выявленных нарушений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4280818544"/>
                  </a:ext>
                </a:extLst>
              </a:tr>
              <a:tr h="520547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1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Ноябрь 2019 – февраль 2020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4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338168657"/>
                  </a:ext>
                </a:extLst>
              </a:tr>
              <a:tr h="520547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2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Март</a:t>
                      </a:r>
                      <a:r>
                        <a:rPr lang="ru-RU" sz="1000" baseline="0" dirty="0" smtClean="0"/>
                        <a:t> 2020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6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3922058046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3734271"/>
              </p:ext>
            </p:extLst>
          </p:nvPr>
        </p:nvGraphicFramePr>
        <p:xfrm>
          <a:off x="1036320" y="3708447"/>
          <a:ext cx="7995920" cy="24571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8800">
                  <a:extLst>
                    <a:ext uri="{9D8B030D-6E8A-4147-A177-3AD203B41FA5}">
                      <a16:colId xmlns:a16="http://schemas.microsoft.com/office/drawing/2014/main" val="2264269191"/>
                    </a:ext>
                  </a:extLst>
                </a:gridCol>
                <a:gridCol w="4378960">
                  <a:extLst>
                    <a:ext uri="{9D8B030D-6E8A-4147-A177-3AD203B41FA5}">
                      <a16:colId xmlns:a16="http://schemas.microsoft.com/office/drawing/2014/main" val="1816690474"/>
                    </a:ext>
                  </a:extLst>
                </a:gridCol>
                <a:gridCol w="3058160">
                  <a:extLst>
                    <a:ext uri="{9D8B030D-6E8A-4147-A177-3AD203B41FA5}">
                      <a16:colId xmlns:a16="http://schemas.microsoft.com/office/drawing/2014/main" val="2970784072"/>
                    </a:ext>
                  </a:extLst>
                </a:gridCol>
              </a:tblGrid>
              <a:tr h="520547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№ п/п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Месяц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Количество </a:t>
                      </a:r>
                      <a:r>
                        <a:rPr lang="ru-RU" sz="1000" baseline="0" dirty="0" smtClean="0"/>
                        <a:t>выявленных нарушений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4280818544"/>
                  </a:ext>
                </a:extLst>
              </a:tr>
              <a:tr h="669275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3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Апрель 2020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5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338168657"/>
                  </a:ext>
                </a:extLst>
              </a:tr>
              <a:tr h="66872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4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Май</a:t>
                      </a:r>
                      <a:r>
                        <a:rPr lang="ru-RU" sz="1000" baseline="0" dirty="0" smtClean="0"/>
                        <a:t> 2020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3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3922058046"/>
                  </a:ext>
                </a:extLst>
              </a:tr>
              <a:tr h="371820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5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юнь 2020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5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460372827"/>
                  </a:ext>
                </a:extLst>
              </a:tr>
              <a:tr h="223092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6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Июль 2020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1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1289535667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298465" y="3346496"/>
            <a:ext cx="4028039" cy="2725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ts val="396"/>
              </a:spcAft>
            </a:pPr>
            <a:r>
              <a:rPr lang="ru-RU" sz="1301" b="1" dirty="0">
                <a:latin typeface="Arial" panose="020B0604020202020204" pitchFamily="34" charset="0"/>
                <a:cs typeface="Arial" panose="020B0604020202020204" pitchFamily="34" charset="0"/>
              </a:rPr>
              <a:t>Период промышленной эксплуатации</a:t>
            </a:r>
            <a:endParaRPr lang="ru-RU" sz="976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Shape 2"/>
          <p:cNvSpPr txBox="1"/>
          <p:nvPr/>
        </p:nvSpPr>
        <p:spPr>
          <a:xfrm>
            <a:off x="584610" y="1107968"/>
            <a:ext cx="7107360" cy="3572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2600" b="1" spc="-1" dirty="0">
                <a:solidFill>
                  <a:srgbClr val="000000"/>
                </a:solidFill>
                <a:latin typeface="Arial"/>
                <a:ea typeface="Arial"/>
              </a:rPr>
              <a:t>Количественные показатели</a:t>
            </a:r>
            <a:endParaRPr lang="ru-RU" sz="2600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54496" y="410376"/>
            <a:ext cx="9344240" cy="750206"/>
          </a:xfrm>
        </p:spPr>
        <p:txBody>
          <a:bodyPr vert="horz" lIns="74295" tIns="37148" rIns="74295" bIns="37148" rtlCol="0" anchor="ctr">
            <a:noAutofit/>
          </a:bodyPr>
          <a:lstStyle/>
          <a:p>
            <a: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работы «машинного </a:t>
            </a:r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ения»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2551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18843"/>
              </p:ext>
            </p:extLst>
          </p:nvPr>
        </p:nvGraphicFramePr>
        <p:xfrm>
          <a:off x="994185" y="1967723"/>
          <a:ext cx="7875495" cy="33828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80615">
                  <a:extLst>
                    <a:ext uri="{9D8B030D-6E8A-4147-A177-3AD203B41FA5}">
                      <a16:colId xmlns:a16="http://schemas.microsoft.com/office/drawing/2014/main" val="2264269191"/>
                    </a:ext>
                  </a:extLst>
                </a:gridCol>
                <a:gridCol w="4240796">
                  <a:extLst>
                    <a:ext uri="{9D8B030D-6E8A-4147-A177-3AD203B41FA5}">
                      <a16:colId xmlns:a16="http://schemas.microsoft.com/office/drawing/2014/main" val="1816690474"/>
                    </a:ext>
                  </a:extLst>
                </a:gridCol>
                <a:gridCol w="3054084">
                  <a:extLst>
                    <a:ext uri="{9D8B030D-6E8A-4147-A177-3AD203B41FA5}">
                      <a16:colId xmlns:a16="http://schemas.microsoft.com/office/drawing/2014/main" val="2970784072"/>
                    </a:ext>
                  </a:extLst>
                </a:gridCol>
              </a:tblGrid>
              <a:tr h="632790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№ п/п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Месяц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Количество </a:t>
                      </a:r>
                      <a:r>
                        <a:rPr lang="ru-RU" sz="1000" baseline="0" dirty="0" smtClean="0"/>
                        <a:t>выявленных нарушений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4280818544"/>
                  </a:ext>
                </a:extLst>
              </a:tr>
              <a:tr h="37154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3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Август 2020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5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338168657"/>
                  </a:ext>
                </a:extLst>
              </a:tr>
              <a:tr h="520547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4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Сентябрь</a:t>
                      </a:r>
                      <a:r>
                        <a:rPr lang="ru-RU" sz="1000" baseline="0" dirty="0" smtClean="0"/>
                        <a:t> 2020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1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3922058046"/>
                  </a:ext>
                </a:extLst>
              </a:tr>
              <a:tr h="371820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5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Октябрь 2020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460372827"/>
                  </a:ext>
                </a:extLst>
              </a:tr>
              <a:tr h="37154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6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Декабрь 2020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89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1289535667"/>
                  </a:ext>
                </a:extLst>
              </a:tr>
              <a:tr h="37154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7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1-ый квартал 2021 года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215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924916030"/>
                  </a:ext>
                </a:extLst>
              </a:tr>
              <a:tr h="37154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8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</a:rPr>
                        <a:t>2-ый квартал 2021 года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endParaRPr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230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3923387805"/>
                  </a:ext>
                </a:extLst>
              </a:tr>
              <a:tr h="371544"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9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Arial"/>
                        </a:rPr>
                        <a:t>3-ый квартал 2021 года</a:t>
                      </a:r>
                      <a:endParaRPr kumimoji="0" lang="ru-RU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Arial"/>
                      </a:endParaRPr>
                    </a:p>
                  </a:txBody>
                  <a:tcPr marL="74364" marR="74364" marT="37182" marB="3718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252</a:t>
                      </a:r>
                      <a:endParaRPr lang="ru-RU" sz="1000" dirty="0"/>
                    </a:p>
                  </a:txBody>
                  <a:tcPr marL="74364" marR="74364" marT="37182" marB="37182"/>
                </a:tc>
                <a:extLst>
                  <a:ext uri="{0D108BD9-81ED-4DB2-BD59-A6C34878D82A}">
                    <a16:rowId xmlns:a16="http://schemas.microsoft.com/office/drawing/2014/main" val="736965430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092149" y="1576357"/>
            <a:ext cx="4028039" cy="272510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ts val="396"/>
              </a:spcAft>
            </a:pPr>
            <a:r>
              <a:rPr lang="ru-RU" sz="1301" b="1" dirty="0">
                <a:latin typeface="Arial" panose="020B0604020202020204" pitchFamily="34" charset="0"/>
                <a:cs typeface="Arial" panose="020B0604020202020204" pitchFamily="34" charset="0"/>
              </a:rPr>
              <a:t>Период промышленной эксплуатации</a:t>
            </a:r>
            <a:endParaRPr lang="ru-RU" sz="976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Shape 2"/>
          <p:cNvSpPr txBox="1"/>
          <p:nvPr/>
        </p:nvSpPr>
        <p:spPr>
          <a:xfrm>
            <a:off x="584610" y="1107968"/>
            <a:ext cx="7107360" cy="35724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>
            <a:noAutofit/>
          </a:bodyPr>
          <a:lstStyle/>
          <a:p>
            <a:pPr>
              <a:lnSpc>
                <a:spcPct val="90000"/>
              </a:lnSpc>
            </a:pPr>
            <a:r>
              <a:rPr lang="ru-RU" sz="2600" b="1" spc="-1" dirty="0">
                <a:solidFill>
                  <a:srgbClr val="000000"/>
                </a:solidFill>
                <a:latin typeface="Arial"/>
                <a:ea typeface="Arial"/>
              </a:rPr>
              <a:t>Количественные показатели</a:t>
            </a:r>
            <a:endParaRPr lang="ru-RU" sz="2600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54496" y="410376"/>
            <a:ext cx="9344240" cy="750206"/>
          </a:xfrm>
        </p:spPr>
        <p:txBody>
          <a:bodyPr vert="horz" lIns="74295" tIns="37148" rIns="74295" bIns="37148" rtlCol="0" anchor="ctr">
            <a:noAutofit/>
          </a:bodyPr>
          <a:lstStyle/>
          <a:p>
            <a: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работы «машинного </a:t>
            </a:r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ения»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656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56287" y="416651"/>
            <a:ext cx="9540187" cy="750206"/>
          </a:xfrm>
        </p:spPr>
        <p:txBody>
          <a:bodyPr vert="horz" lIns="74295" tIns="37148" rIns="74295" bIns="37148" rtlCol="0" anchor="ctr">
            <a:noAutofit/>
          </a:bodyPr>
          <a:lstStyle/>
          <a:p>
            <a:r>
              <a:rPr lang="ru-RU" sz="22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результаты внедрения СВС ТБ и ПБ на Кольской АЭС</a:t>
            </a:r>
            <a:endParaRPr lang="ru-RU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8" name="Прямоугольник 217">
            <a:extLst>
              <a:ext uri="{FF2B5EF4-FFF2-40B4-BE49-F238E27FC236}">
                <a16:creationId xmlns:a16="http://schemas.microsoft.com/office/drawing/2014/main" id="{23C5DDD8-0418-E04C-8B06-EA1CB5EA5FBC}"/>
              </a:ext>
            </a:extLst>
          </p:cNvPr>
          <p:cNvSpPr/>
          <p:nvPr/>
        </p:nvSpPr>
        <p:spPr>
          <a:xfrm>
            <a:off x="365812" y="1510846"/>
            <a:ext cx="5620920" cy="41980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нижение количества нарушений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 производстве работ в КРУ 6кВ, вызванных нарушением ТБ и ПБ в части правильности применения 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З за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чет:</a:t>
            </a:r>
          </a:p>
          <a:p>
            <a:pPr marL="447675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еспечения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наружения до 100% случаев нарушений требований ТБ в части применения СИЗ в масштабе реального времени;</a:t>
            </a:r>
          </a:p>
          <a:p>
            <a:pPr marL="447675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гновенного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овещения заинтересованных служб о случаях нарушений ТБ и ПБ в части правильности применения 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З;</a:t>
            </a:r>
          </a:p>
          <a:p>
            <a:pPr marL="447675" marR="0" lvl="0" indent="-26670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ознания персоналом беспристрастности и неотвратимости фиксации нарушений электронной системой.</a:t>
            </a:r>
            <a:endParaRPr kumimoji="0" lang="ru-RU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нижение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рудозатрат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на обработку данных с камер видеонаблюдения; </a:t>
            </a: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. </a:t>
            </a:r>
            <a:r>
              <a:rPr kumimoji="0" 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вышение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рудовой дисциплины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части правильности применения </a:t>
            </a:r>
            <a:r>
              <a:rPr kumimoji="0" lang="ru-RU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ИЗ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45753" marR="0" lvl="0" indent="-145753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88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8274" y="1259456"/>
            <a:ext cx="3452480" cy="4891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63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317507" y="421524"/>
            <a:ext cx="7108825" cy="439738"/>
          </a:xfrm>
        </p:spPr>
        <p:txBody>
          <a:bodyPr/>
          <a:lstStyle/>
          <a:p>
            <a:r>
              <a:rPr lang="ru-RU" dirty="0" smtClean="0"/>
              <a:t>Показатели </a:t>
            </a:r>
            <a:r>
              <a:rPr lang="ru-RU" dirty="0" err="1" smtClean="0"/>
              <a:t>цифровизируемого</a:t>
            </a:r>
            <a:r>
              <a:rPr lang="ru-RU" dirty="0" smtClean="0"/>
              <a:t> процесса</a:t>
            </a:r>
            <a:endParaRPr lang="ru-RU" dirty="0"/>
          </a:p>
        </p:txBody>
      </p:sp>
      <p:sp>
        <p:nvSpPr>
          <p:cNvPr id="11" name="CustomShape 1"/>
          <p:cNvSpPr/>
          <p:nvPr/>
        </p:nvSpPr>
        <p:spPr>
          <a:xfrm flipV="1">
            <a:off x="3514639" y="3831091"/>
            <a:ext cx="907140" cy="372450"/>
          </a:xfrm>
          <a:prstGeom prst="bentConnector3">
            <a:avLst>
              <a:gd name="adj1" fmla="val 30675"/>
            </a:avLst>
          </a:prstGeom>
          <a:noFill/>
          <a:ln/>
          <a:effectLst>
            <a:outerShdw blurRad="50800" dist="38160" dir="5400000" algn="t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2" name="CustomShape 2"/>
          <p:cNvSpPr/>
          <p:nvPr/>
        </p:nvSpPr>
        <p:spPr>
          <a:xfrm flipV="1">
            <a:off x="3514639" y="2700481"/>
            <a:ext cx="907140" cy="372450"/>
          </a:xfrm>
          <a:prstGeom prst="bentConnector3">
            <a:avLst>
              <a:gd name="adj1" fmla="val 30675"/>
            </a:avLst>
          </a:prstGeom>
          <a:noFill/>
          <a:ln/>
          <a:effectLst>
            <a:outerShdw blurRad="50800" dist="38160" dir="5400000" algn="t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3" name="CustomShape 3"/>
          <p:cNvSpPr/>
          <p:nvPr/>
        </p:nvSpPr>
        <p:spPr>
          <a:xfrm flipV="1">
            <a:off x="3514639" y="1564801"/>
            <a:ext cx="907140" cy="372450"/>
          </a:xfrm>
          <a:prstGeom prst="bentConnector3">
            <a:avLst>
              <a:gd name="adj1" fmla="val 30675"/>
            </a:avLst>
          </a:prstGeom>
          <a:noFill/>
          <a:ln/>
          <a:effectLst>
            <a:outerShdw blurRad="50800" dist="38160" dir="5400000" algn="t" rotWithShape="0">
              <a:srgbClr val="000000">
                <a:alpha val="40000"/>
              </a:srgb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4" name="CustomShape 5"/>
          <p:cNvSpPr/>
          <p:nvPr/>
        </p:nvSpPr>
        <p:spPr>
          <a:xfrm>
            <a:off x="549469" y="4868881"/>
            <a:ext cx="8980530" cy="5653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7500" tIns="48750" rIns="97500" bIns="48750">
            <a:spAutoFit/>
          </a:bodyPr>
          <a:lstStyle/>
          <a:p>
            <a:pPr algn="ctr">
              <a:lnSpc>
                <a:spcPct val="100000"/>
              </a:lnSpc>
            </a:pPr>
            <a:r>
              <a:rPr lang="ru-RU" sz="1517" spc="-1">
                <a:solidFill>
                  <a:srgbClr val="000000"/>
                </a:solidFill>
                <a:latin typeface="Calibri"/>
              </a:rPr>
              <a:t>Система интеллектуального видеонаблюдения </a:t>
            </a:r>
            <a:r>
              <a:rPr lang="ru-RU" sz="1517" b="1" spc="-1">
                <a:solidFill>
                  <a:srgbClr val="5B9BD5"/>
                </a:solidFill>
                <a:latin typeface="Calibri"/>
              </a:rPr>
              <a:t>полностью автоматизирует</a:t>
            </a:r>
            <a:r>
              <a:rPr lang="ru-RU" sz="1517" spc="-1">
                <a:solidFill>
                  <a:srgbClr val="5B9BD5"/>
                </a:solidFill>
                <a:latin typeface="Calibri"/>
              </a:rPr>
              <a:t> </a:t>
            </a:r>
            <a:r>
              <a:rPr lang="ru-RU" sz="1517" spc="-1">
                <a:solidFill>
                  <a:srgbClr val="000000"/>
                </a:solidFill>
                <a:latin typeface="Calibri"/>
              </a:rPr>
              <a:t>процесс контроля ТБ и ПБ и </a:t>
            </a:r>
            <a:r>
              <a:rPr lang="ru-RU" sz="1517" b="1" spc="-1">
                <a:solidFill>
                  <a:srgbClr val="5B9BD5"/>
                </a:solidFill>
                <a:latin typeface="Calibri"/>
              </a:rPr>
              <a:t>заменяет</a:t>
            </a:r>
            <a:r>
              <a:rPr lang="ru-RU" sz="1517" spc="-1">
                <a:solidFill>
                  <a:srgbClr val="000000"/>
                </a:solidFill>
                <a:latin typeface="Calibri"/>
              </a:rPr>
              <a:t> </a:t>
            </a:r>
            <a:r>
              <a:rPr lang="ru-RU" sz="1517" b="1" spc="-1">
                <a:solidFill>
                  <a:srgbClr val="5B9BD5"/>
                </a:solidFill>
                <a:latin typeface="Calibri"/>
              </a:rPr>
              <a:t>собой</a:t>
            </a:r>
            <a:r>
              <a:rPr lang="ru-RU" sz="1517" spc="-1">
                <a:solidFill>
                  <a:srgbClr val="000000"/>
                </a:solidFill>
                <a:latin typeface="Calibri"/>
              </a:rPr>
              <a:t> </a:t>
            </a:r>
            <a:r>
              <a:rPr lang="ru-RU" sz="1517" b="1" spc="-1">
                <a:solidFill>
                  <a:srgbClr val="5B9BD5"/>
                </a:solidFill>
                <a:latin typeface="Calibri"/>
              </a:rPr>
              <a:t>контроль</a:t>
            </a:r>
            <a:r>
              <a:rPr lang="ru-RU" sz="1517" spc="-1">
                <a:solidFill>
                  <a:srgbClr val="000000"/>
                </a:solidFill>
                <a:latin typeface="Calibri"/>
              </a:rPr>
              <a:t> изображения с камер </a:t>
            </a:r>
            <a:r>
              <a:rPr lang="ru-RU" sz="1517" b="1" spc="-1">
                <a:solidFill>
                  <a:srgbClr val="5B9BD5"/>
                </a:solidFill>
                <a:latin typeface="Calibri"/>
              </a:rPr>
              <a:t>диспетчером</a:t>
            </a:r>
            <a:r>
              <a:rPr lang="ru-RU" sz="1517" spc="-1">
                <a:solidFill>
                  <a:srgbClr val="000000"/>
                </a:solidFill>
                <a:latin typeface="Calibri"/>
              </a:rPr>
              <a:t>. </a:t>
            </a:r>
            <a:endParaRPr lang="ru-RU" sz="1517" spc="-1">
              <a:latin typeface="Arial"/>
            </a:endParaRPr>
          </a:p>
        </p:txBody>
      </p:sp>
      <p:sp>
        <p:nvSpPr>
          <p:cNvPr id="15" name="CustomShape 7"/>
          <p:cNvSpPr/>
          <p:nvPr/>
        </p:nvSpPr>
        <p:spPr>
          <a:xfrm>
            <a:off x="549469" y="2691511"/>
            <a:ext cx="2964780" cy="687180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/>
          <a:effectLst>
            <a:outerShdw blurRad="50800" dist="38160" dir="5400000" algn="t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7500" tIns="48750" rIns="97500" bIns="4875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ru-RU" sz="3900" b="1" spc="-1">
                <a:solidFill>
                  <a:srgbClr val="ED7D31"/>
                </a:solidFill>
                <a:latin typeface="Calibri"/>
              </a:rPr>
              <a:t>26</a:t>
            </a:r>
            <a:endParaRPr lang="ru-RU" sz="3900" spc="-1">
              <a:latin typeface="Arial"/>
            </a:endParaRPr>
          </a:p>
        </p:txBody>
      </p:sp>
      <p:sp>
        <p:nvSpPr>
          <p:cNvPr id="16" name="CustomShape 8"/>
          <p:cNvSpPr/>
          <p:nvPr/>
        </p:nvSpPr>
        <p:spPr>
          <a:xfrm>
            <a:off x="1145779" y="2795251"/>
            <a:ext cx="2368860" cy="49856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7500" tIns="48750" rIns="97500" bIns="48750">
            <a:spAutoFit/>
          </a:bodyPr>
          <a:lstStyle/>
          <a:p>
            <a:pPr algn="just">
              <a:lnSpc>
                <a:spcPct val="100000"/>
              </a:lnSpc>
            </a:pPr>
            <a:r>
              <a:rPr lang="ru-RU" sz="1300" b="1" spc="-1">
                <a:solidFill>
                  <a:srgbClr val="000000"/>
                </a:solidFill>
                <a:latin typeface="Calibri"/>
              </a:rPr>
              <a:t>элементов СИЗ детектируется системой</a:t>
            </a:r>
            <a:endParaRPr lang="ru-RU" sz="1300" spc="-1">
              <a:latin typeface="Arial"/>
            </a:endParaRPr>
          </a:p>
        </p:txBody>
      </p:sp>
      <p:sp>
        <p:nvSpPr>
          <p:cNvPr id="17" name="CustomShape 9"/>
          <p:cNvSpPr/>
          <p:nvPr/>
        </p:nvSpPr>
        <p:spPr>
          <a:xfrm>
            <a:off x="549469" y="3861121"/>
            <a:ext cx="2964780" cy="687180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/>
          <a:effectLst>
            <a:outerShdw blurRad="50800" dist="38160" dir="5400000" algn="t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7500" tIns="48750" rIns="97500" bIns="4875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ru-RU" sz="3900" b="1" spc="-1">
                <a:solidFill>
                  <a:srgbClr val="ED7D31"/>
                </a:solidFill>
                <a:latin typeface="Calibri"/>
              </a:rPr>
              <a:t>98</a:t>
            </a:r>
            <a:endParaRPr lang="ru-RU" sz="3900" spc="-1">
              <a:latin typeface="Arial"/>
            </a:endParaRPr>
          </a:p>
        </p:txBody>
      </p:sp>
      <p:sp>
        <p:nvSpPr>
          <p:cNvPr id="18" name="CustomShape 10"/>
          <p:cNvSpPr/>
          <p:nvPr/>
        </p:nvSpPr>
        <p:spPr>
          <a:xfrm>
            <a:off x="1145779" y="3954722"/>
            <a:ext cx="2368860" cy="49856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7500" tIns="48750" rIns="97500" bIns="48750">
            <a:spAutoFit/>
          </a:bodyPr>
          <a:lstStyle/>
          <a:p>
            <a:pPr algn="just">
              <a:lnSpc>
                <a:spcPct val="100000"/>
              </a:lnSpc>
            </a:pPr>
            <a:r>
              <a:rPr lang="ru-RU" sz="1300" b="1" spc="-1">
                <a:solidFill>
                  <a:srgbClr val="000000"/>
                </a:solidFill>
                <a:latin typeface="Calibri"/>
              </a:rPr>
              <a:t>% – точность детектирования нарушений</a:t>
            </a:r>
            <a:endParaRPr lang="ru-RU" sz="1300" spc="-1">
              <a:latin typeface="Arial"/>
            </a:endParaRPr>
          </a:p>
        </p:txBody>
      </p:sp>
      <p:grpSp>
        <p:nvGrpSpPr>
          <p:cNvPr id="19" name="Group 11"/>
          <p:cNvGrpSpPr/>
          <p:nvPr/>
        </p:nvGrpSpPr>
        <p:grpSpPr>
          <a:xfrm>
            <a:off x="4043089" y="2701651"/>
            <a:ext cx="5585580" cy="930150"/>
            <a:chOff x="3574080" y="2331000"/>
            <a:chExt cx="5155920" cy="858600"/>
          </a:xfrm>
        </p:grpSpPr>
        <p:sp>
          <p:nvSpPr>
            <p:cNvPr id="20" name="CustomShape 12"/>
            <p:cNvSpPr/>
            <p:nvPr/>
          </p:nvSpPr>
          <p:spPr>
            <a:xfrm>
              <a:off x="3665160" y="2408760"/>
              <a:ext cx="5064840" cy="78084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21" name="CustomShape 13"/>
            <p:cNvSpPr/>
            <p:nvPr/>
          </p:nvSpPr>
          <p:spPr>
            <a:xfrm>
              <a:off x="3574080" y="2331000"/>
              <a:ext cx="5064840" cy="78084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chemeClr val="accent1">
                <a:lumMod val="20000"/>
                <a:lumOff val="80000"/>
              </a:schemeClr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7500" tIns="48750" rIns="97500" bIns="48750" anchor="ctr">
              <a:noAutofit/>
            </a:bodyPr>
            <a:lstStyle/>
            <a:p>
              <a:pPr algn="just">
                <a:lnSpc>
                  <a:spcPct val="100000"/>
                </a:lnSpc>
              </a:pPr>
              <a:r>
                <a:rPr lang="ru-RU" sz="1083" spc="-1">
                  <a:solidFill>
                    <a:srgbClr val="000000"/>
                  </a:solidFill>
                  <a:latin typeface="Calibri"/>
                </a:rPr>
                <a:t>Каска, лицевой щиток в нескольких положениях, перчатки, ботинки, респираторы, газоанализаторы и пр. На видео разрешением 640*480 при размере лица от 20 пикселей в высоту, во всех ракурсах при угле наклона камеры относительно пола до 70 градусов, на расстоянии до объекта до 25 м.</a:t>
              </a:r>
              <a:endParaRPr lang="ru-RU" sz="1083" spc="-1">
                <a:latin typeface="Arial"/>
              </a:endParaRPr>
            </a:p>
          </p:txBody>
        </p:sp>
      </p:grpSp>
      <p:grpSp>
        <p:nvGrpSpPr>
          <p:cNvPr id="22" name="Group 14"/>
          <p:cNvGrpSpPr/>
          <p:nvPr/>
        </p:nvGrpSpPr>
        <p:grpSpPr>
          <a:xfrm>
            <a:off x="4043089" y="3831871"/>
            <a:ext cx="5585580" cy="937560"/>
            <a:chOff x="3574080" y="3374280"/>
            <a:chExt cx="5155920" cy="865440"/>
          </a:xfrm>
        </p:grpSpPr>
        <p:sp>
          <p:nvSpPr>
            <p:cNvPr id="23" name="CustomShape 15"/>
            <p:cNvSpPr/>
            <p:nvPr/>
          </p:nvSpPr>
          <p:spPr>
            <a:xfrm>
              <a:off x="3665160" y="3458880"/>
              <a:ext cx="5064840" cy="78084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24" name="CustomShape 16"/>
            <p:cNvSpPr/>
            <p:nvPr/>
          </p:nvSpPr>
          <p:spPr>
            <a:xfrm>
              <a:off x="3574080" y="3374280"/>
              <a:ext cx="5064840" cy="78084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chemeClr val="accent1">
                <a:lumMod val="20000"/>
                <a:lumOff val="80000"/>
              </a:schemeClr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7500" tIns="48750" rIns="97500" bIns="48750" anchor="ctr">
              <a:noAutofit/>
            </a:bodyPr>
            <a:lstStyle/>
            <a:p>
              <a:pPr algn="just">
                <a:lnSpc>
                  <a:spcPct val="100000"/>
                </a:lnSpc>
              </a:pPr>
              <a:r>
                <a:rPr lang="ru-RU" sz="1083" spc="-1">
                  <a:solidFill>
                    <a:srgbClr val="000000"/>
                  </a:solidFill>
                  <a:latin typeface="Calibri"/>
                </a:rPr>
                <a:t>Высокая точность детектирования – на 100 зарегистрированных нарушений не более 5 ложных срабатываний. </a:t>
              </a:r>
              <a:endParaRPr lang="ru-RU" sz="1083" spc="-1">
                <a:latin typeface="Arial"/>
              </a:endParaRPr>
            </a:p>
            <a:p>
              <a:pPr algn="just">
                <a:lnSpc>
                  <a:spcPct val="100000"/>
                </a:lnSpc>
              </a:pPr>
              <a:r>
                <a:rPr lang="ru-RU" sz="1083" spc="-1">
                  <a:solidFill>
                    <a:srgbClr val="000000"/>
                  </a:solidFill>
                  <a:latin typeface="Calibri"/>
                </a:rPr>
                <a:t>Обработка нарушений и отправка уведомлений не более 5 сек.</a:t>
              </a:r>
              <a:endParaRPr lang="ru-RU" sz="1083" spc="-1">
                <a:latin typeface="Arial"/>
              </a:endParaRPr>
            </a:p>
          </p:txBody>
        </p:sp>
      </p:grpSp>
      <p:grpSp>
        <p:nvGrpSpPr>
          <p:cNvPr id="25" name="Group 17"/>
          <p:cNvGrpSpPr/>
          <p:nvPr/>
        </p:nvGrpSpPr>
        <p:grpSpPr>
          <a:xfrm>
            <a:off x="4043089" y="1571041"/>
            <a:ext cx="5585580" cy="940680"/>
            <a:chOff x="3574080" y="1287360"/>
            <a:chExt cx="5155920" cy="868320"/>
          </a:xfrm>
        </p:grpSpPr>
        <p:sp>
          <p:nvSpPr>
            <p:cNvPr id="26" name="CustomShape 18"/>
            <p:cNvSpPr/>
            <p:nvPr/>
          </p:nvSpPr>
          <p:spPr>
            <a:xfrm>
              <a:off x="3665160" y="1374840"/>
              <a:ext cx="5064840" cy="78084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rgbClr val="DEEBF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27" name="CustomShape 19"/>
            <p:cNvSpPr/>
            <p:nvPr/>
          </p:nvSpPr>
          <p:spPr>
            <a:xfrm>
              <a:off x="3574080" y="1287360"/>
              <a:ext cx="5064840" cy="780840"/>
            </a:xfrm>
            <a:prstGeom prst="snip2DiagRect">
              <a:avLst>
                <a:gd name="adj1" fmla="val 0"/>
                <a:gd name="adj2" fmla="val 16667"/>
              </a:avLst>
            </a:prstGeom>
            <a:solidFill>
              <a:schemeClr val="accent1">
                <a:lumMod val="20000"/>
                <a:lumOff val="80000"/>
              </a:schemeClr>
            </a:solidFill>
            <a:ln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7500" tIns="48750" rIns="97500" bIns="48750" anchor="ctr">
              <a:noAutofit/>
            </a:bodyPr>
            <a:lstStyle/>
            <a:p>
              <a:pPr algn="just">
                <a:lnSpc>
                  <a:spcPct val="100000"/>
                </a:lnSpc>
              </a:pPr>
              <a:r>
                <a:rPr lang="ru-RU" sz="1083" spc="-1">
                  <a:solidFill>
                    <a:srgbClr val="000000"/>
                  </a:solidFill>
                  <a:latin typeface="Calibri"/>
                </a:rPr>
                <a:t>Использованы специальные нейросети, адаптированные для детектирования объектов СИЗ в промышленном окружении.</a:t>
              </a:r>
              <a:endParaRPr lang="ru-RU" sz="1083" spc="-1">
                <a:latin typeface="Arial"/>
              </a:endParaRPr>
            </a:p>
            <a:p>
              <a:pPr algn="just">
                <a:lnSpc>
                  <a:spcPct val="100000"/>
                </a:lnSpc>
              </a:pPr>
              <a:r>
                <a:rPr lang="ru-RU" sz="1083" spc="-1">
                  <a:solidFill>
                    <a:srgbClr val="000000"/>
                  </a:solidFill>
                  <a:latin typeface="Calibri"/>
                </a:rPr>
                <a:t>Сложная технология детектирования дополнена интуитивно-понятным модулем обучения нейросети, который не требует специальных знаний.</a:t>
              </a:r>
              <a:endParaRPr lang="ru-RU" sz="1083" spc="-1">
                <a:latin typeface="Arial"/>
              </a:endParaRPr>
            </a:p>
          </p:txBody>
        </p:sp>
      </p:grpSp>
      <p:sp>
        <p:nvSpPr>
          <p:cNvPr id="28" name="CustomShape 20"/>
          <p:cNvSpPr/>
          <p:nvPr/>
        </p:nvSpPr>
        <p:spPr>
          <a:xfrm>
            <a:off x="549469" y="1571041"/>
            <a:ext cx="2964780" cy="687180"/>
          </a:xfrm>
          <a:prstGeom prst="roundRect">
            <a:avLst>
              <a:gd name="adj" fmla="val 16667"/>
            </a:avLst>
          </a:prstGeom>
          <a:solidFill>
            <a:schemeClr val="accent1">
              <a:lumMod val="20000"/>
              <a:lumOff val="80000"/>
            </a:schemeClr>
          </a:solidFill>
          <a:ln/>
          <a:effectLst>
            <a:outerShdw blurRad="50800" dist="38160" dir="5400000" algn="t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7500" tIns="48750" rIns="97500" bIns="4875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ru-RU" sz="1300" b="1" spc="-1">
                <a:solidFill>
                  <a:srgbClr val="000000"/>
                </a:solidFill>
                <a:latin typeface="Calibri"/>
              </a:rPr>
              <a:t>в</a:t>
            </a:r>
            <a:r>
              <a:rPr lang="ru-RU" sz="3900" b="1" spc="-1">
                <a:solidFill>
                  <a:srgbClr val="ED7D31"/>
                </a:solidFill>
                <a:latin typeface="Calibri"/>
              </a:rPr>
              <a:t>10 </a:t>
            </a:r>
            <a:endParaRPr lang="ru-RU" sz="3900" spc="-1">
              <a:latin typeface="Arial"/>
            </a:endParaRPr>
          </a:p>
        </p:txBody>
      </p:sp>
      <p:sp>
        <p:nvSpPr>
          <p:cNvPr id="29" name="CustomShape 21"/>
          <p:cNvSpPr/>
          <p:nvPr/>
        </p:nvSpPr>
        <p:spPr>
          <a:xfrm>
            <a:off x="1176589" y="1643581"/>
            <a:ext cx="2536170" cy="49856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7500" tIns="48750" rIns="97500" bIns="48750">
            <a:spAutoFit/>
          </a:bodyPr>
          <a:lstStyle/>
          <a:p>
            <a:pPr>
              <a:lnSpc>
                <a:spcPct val="100000"/>
              </a:lnSpc>
            </a:pPr>
            <a:r>
              <a:rPr lang="ru-RU" sz="1300" b="1" spc="-1">
                <a:solidFill>
                  <a:srgbClr val="000000"/>
                </a:solidFill>
                <a:latin typeface="Calibri"/>
              </a:rPr>
              <a:t>раз снижено число нарушений ТБ и ПБ </a:t>
            </a:r>
            <a:endParaRPr lang="ru-RU" sz="1300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3442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46763" y="416237"/>
            <a:ext cx="9344240" cy="750206"/>
          </a:xfrm>
        </p:spPr>
        <p:txBody>
          <a:bodyPr vert="horz" lIns="74295" tIns="37148" rIns="74295" bIns="37148" rtlCol="0" anchor="ctr">
            <a:noAutofit/>
          </a:bodyPr>
          <a:lstStyle/>
          <a:p>
            <a:r>
              <a:rPr lang="ru-RU" sz="20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уемые направление модернизации СВС ТБ и ПБ Кольской АЭС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8" name="Прямоугольник 217">
            <a:extLst>
              <a:ext uri="{FF2B5EF4-FFF2-40B4-BE49-F238E27FC236}">
                <a16:creationId xmlns:a16="http://schemas.microsoft.com/office/drawing/2014/main" id="{23C5DDD8-0418-E04C-8B06-EA1CB5EA5FBC}"/>
              </a:ext>
            </a:extLst>
          </p:cNvPr>
          <p:cNvSpPr/>
          <p:nvPr/>
        </p:nvSpPr>
        <p:spPr>
          <a:xfrm>
            <a:off x="440171" y="1091681"/>
            <a:ext cx="5721073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defRPr/>
            </a:pP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В настоящее время идёт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модернизация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Системы видеоанализа по расширению функционала,  для таких событий, как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342900" lvl="0" indent="-74613" algn="just">
              <a:buFont typeface="Symbol" panose="05050102010706020507" pitchFamily="18" charset="2"/>
              <a:buChar char="-"/>
              <a:defRPr/>
            </a:pP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обнаружение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оставленных предметов в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омещениях;</a:t>
            </a:r>
          </a:p>
          <a:p>
            <a:pPr marL="342900" indent="-74613" algn="just">
              <a:buFont typeface="Symbol" panose="05050102010706020507" pitchFamily="18" charset="2"/>
              <a:buChar char="-"/>
              <a:defRPr/>
            </a:pP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обнаружение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задымлений в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омещениях;</a:t>
            </a:r>
            <a:endParaRPr lang="ru-RU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74613" algn="just">
              <a:buFont typeface="Symbol" panose="05050102010706020507" pitchFamily="18" charset="2"/>
              <a:buChar char="-"/>
              <a:defRPr/>
            </a:pP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обнаружение возгораний (открытого огня)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омещениях;</a:t>
            </a:r>
          </a:p>
          <a:p>
            <a:pPr marL="342900" lvl="0" indent="-74613" algn="just">
              <a:buFont typeface="Symbol" panose="05050102010706020507" pitchFamily="18" charset="2"/>
              <a:buChar char="-"/>
              <a:defRPr/>
            </a:pP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контроль работ в КРУ 6 </a:t>
            </a:r>
            <a:r>
              <a:rPr lang="ru-RU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кВ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по данным ПО «Единый наряд»;</a:t>
            </a:r>
          </a:p>
          <a:p>
            <a:pPr marL="342900" lvl="0" indent="-74613" algn="just">
              <a:buFont typeface="Symbol" panose="05050102010706020507" pitchFamily="18" charset="2"/>
              <a:buChar char="-"/>
              <a:defRPr/>
            </a:pP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интеграция системы с </a:t>
            </a:r>
            <a:r>
              <a:rPr lang="ru-RU" kern="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тепловизионным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оборудованием.</a:t>
            </a:r>
            <a:endParaRPr lang="ru-RU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5753" indent="-145753">
              <a:lnSpc>
                <a:spcPct val="150000"/>
              </a:lnSpc>
              <a:spcAft>
                <a:spcPts val="488"/>
              </a:spcAft>
              <a:buFont typeface="Arial" panose="020B0604020202020204" pitchFamily="34" charset="0"/>
              <a:buChar char="•"/>
            </a:pPr>
            <a:endParaRPr lang="ru-RU" sz="10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40171" y="4374946"/>
            <a:ext cx="900400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Для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реализации   дополнительных  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возможностей системы,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в том числе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определению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личности нарушителя ТБ и ПБ (Face ID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), созданию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архива видеозаписей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нарушений и улучшения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интерфейса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мониторинга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работы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системы и ведётся доработка.</a:t>
            </a:r>
            <a:endParaRPr lang="ru-RU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defRPr/>
            </a:pP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В 2021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году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роводится модернизация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системы видеонаблюдения в РУ в части увеличения количества ТВ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камер, что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позволит расширить количество контролируемых системой помещений. </a:t>
            </a:r>
          </a:p>
        </p:txBody>
      </p:sp>
      <p:pic>
        <p:nvPicPr>
          <p:cNvPr id="1026" name="Picture 2" descr="panel_fire.jp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09691" y="1091681"/>
            <a:ext cx="3134489" cy="28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8988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1" name="CustomShape 2"/>
          <p:cNvSpPr/>
          <p:nvPr/>
        </p:nvSpPr>
        <p:spPr>
          <a:xfrm>
            <a:off x="453982" y="1472291"/>
            <a:ext cx="5138640" cy="2549829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7500" tIns="48750" rIns="97500" bIns="48750">
            <a:spAutoFit/>
          </a:bodyPr>
          <a:lstStyle/>
          <a:p>
            <a:pPr marL="309650" indent="-309260" algn="just">
              <a:buClr>
                <a:srgbClr val="000000"/>
              </a:buClr>
              <a:buFont typeface="Wingdings" charset="2"/>
              <a:buChar char=""/>
            </a:pPr>
            <a:r>
              <a:rPr lang="ru-RU" sz="1517" spc="-1">
                <a:solidFill>
                  <a:srgbClr val="000000"/>
                </a:solidFill>
                <a:latin typeface="Calibri"/>
                <a:ea typeface="DejaVu Sans"/>
              </a:rPr>
              <a:t>обнаружение оставленных предметов в помещениях;</a:t>
            </a:r>
            <a:endParaRPr lang="ru-RU" sz="1517" spc="-1">
              <a:latin typeface="Arial"/>
            </a:endParaRPr>
          </a:p>
          <a:p>
            <a:pPr marL="309650" indent="-309260" algn="just">
              <a:buClr>
                <a:srgbClr val="000000"/>
              </a:buClr>
              <a:buFont typeface="Wingdings" charset="2"/>
              <a:buChar char=""/>
            </a:pPr>
            <a:r>
              <a:rPr lang="ru-RU" sz="1517" spc="-1">
                <a:solidFill>
                  <a:srgbClr val="000000"/>
                </a:solidFill>
                <a:latin typeface="Calibri"/>
                <a:ea typeface="DejaVu Sans"/>
              </a:rPr>
              <a:t>обнаружение задымлений в помещениях;</a:t>
            </a:r>
            <a:endParaRPr lang="ru-RU" sz="1517" spc="-1">
              <a:latin typeface="Arial"/>
            </a:endParaRPr>
          </a:p>
          <a:p>
            <a:pPr marL="309650" indent="-309260" algn="just">
              <a:buClr>
                <a:srgbClr val="000000"/>
              </a:buClr>
              <a:buFont typeface="Wingdings" charset="2"/>
              <a:buChar char=""/>
            </a:pPr>
            <a:r>
              <a:rPr lang="ru-RU" sz="1517" spc="-1">
                <a:solidFill>
                  <a:srgbClr val="000000"/>
                </a:solidFill>
                <a:latin typeface="Calibri"/>
                <a:ea typeface="DejaVu Sans"/>
              </a:rPr>
              <a:t>обнаружение возгораний (открытого огня) в помещениях;</a:t>
            </a:r>
            <a:endParaRPr lang="ru-RU" sz="1517" spc="-1">
              <a:latin typeface="Arial"/>
            </a:endParaRPr>
          </a:p>
          <a:p>
            <a:pPr marL="309650" indent="-309260" algn="just">
              <a:buClr>
                <a:srgbClr val="000000"/>
              </a:buClr>
              <a:buFont typeface="Wingdings" charset="2"/>
              <a:buChar char=""/>
            </a:pPr>
            <a:r>
              <a:rPr lang="ru-RU" sz="1517" spc="-1">
                <a:solidFill>
                  <a:srgbClr val="000000"/>
                </a:solidFill>
                <a:latin typeface="Calibri"/>
                <a:ea typeface="DejaVu Sans"/>
              </a:rPr>
              <a:t>контроль работ в КРУ 6 кВ по данным ПО «Единый наряд»;</a:t>
            </a:r>
            <a:endParaRPr lang="ru-RU" sz="1517" spc="-1">
              <a:latin typeface="Arial"/>
            </a:endParaRPr>
          </a:p>
          <a:p>
            <a:pPr marL="309650" indent="-309260" algn="just">
              <a:buClr>
                <a:srgbClr val="000000"/>
              </a:buClr>
              <a:buFont typeface="Wingdings" charset="2"/>
              <a:buChar char=""/>
            </a:pPr>
            <a:r>
              <a:rPr lang="ru-RU" sz="1517" spc="-1">
                <a:solidFill>
                  <a:srgbClr val="000000"/>
                </a:solidFill>
                <a:latin typeface="Calibri"/>
                <a:ea typeface="DejaVu Sans"/>
              </a:rPr>
              <a:t>интеграция системы с тепловизионным оборудованием;</a:t>
            </a:r>
            <a:endParaRPr lang="ru-RU" sz="1517" spc="-1">
              <a:latin typeface="Arial"/>
            </a:endParaRPr>
          </a:p>
          <a:p>
            <a:pPr marL="309650" indent="-309260" algn="just">
              <a:buClr>
                <a:srgbClr val="000000"/>
              </a:buClr>
              <a:buFont typeface="Wingdings" charset="2"/>
              <a:buChar char=""/>
            </a:pPr>
            <a:r>
              <a:rPr lang="ru-RU" sz="1517" spc="-1">
                <a:solidFill>
                  <a:srgbClr val="000000"/>
                </a:solidFill>
                <a:latin typeface="Calibri"/>
                <a:ea typeface="DejaVu Sans"/>
              </a:rPr>
              <a:t>Face ID (определению личности нарушителя ТБ и ПБ )</a:t>
            </a:r>
            <a:endParaRPr lang="ru-RU" sz="1517" spc="-1">
              <a:latin typeface="Arial"/>
            </a:endParaRPr>
          </a:p>
          <a:p>
            <a:pPr>
              <a:lnSpc>
                <a:spcPct val="150000"/>
              </a:lnSpc>
              <a:spcAft>
                <a:spcPts val="396"/>
              </a:spcAft>
            </a:pPr>
            <a:endParaRPr lang="ru-RU" sz="1517" spc="-1">
              <a:latin typeface="Arial"/>
            </a:endParaRPr>
          </a:p>
        </p:txBody>
      </p:sp>
      <p:pic>
        <p:nvPicPr>
          <p:cNvPr id="342" name="Рисунок 18"/>
          <p:cNvPicPr/>
          <p:nvPr/>
        </p:nvPicPr>
        <p:blipFill>
          <a:blip r:embed="rId2"/>
          <a:srcRect l="2308" t="16083" r="86917" b="73746"/>
          <a:stretch/>
        </p:blipFill>
        <p:spPr>
          <a:xfrm>
            <a:off x="453982" y="3721421"/>
            <a:ext cx="1932060" cy="1111110"/>
          </a:xfrm>
          <a:prstGeom prst="rect">
            <a:avLst/>
          </a:prstGeom>
          <a:ln>
            <a:noFill/>
          </a:ln>
        </p:spPr>
      </p:pic>
      <p:pic>
        <p:nvPicPr>
          <p:cNvPr id="343" name="Рисунок 19"/>
          <p:cNvPicPr/>
          <p:nvPr/>
        </p:nvPicPr>
        <p:blipFill>
          <a:blip r:embed="rId2"/>
          <a:srcRect l="36264" t="50653" r="53312" b="39177"/>
          <a:stretch/>
        </p:blipFill>
        <p:spPr>
          <a:xfrm>
            <a:off x="1893082" y="4091141"/>
            <a:ext cx="1932060" cy="1148550"/>
          </a:xfrm>
          <a:prstGeom prst="rect">
            <a:avLst/>
          </a:prstGeom>
          <a:ln>
            <a:noFill/>
          </a:ln>
        </p:spPr>
      </p:pic>
      <p:pic>
        <p:nvPicPr>
          <p:cNvPr id="344" name="Рисунок 20"/>
          <p:cNvPicPr/>
          <p:nvPr/>
        </p:nvPicPr>
        <p:blipFill>
          <a:blip r:embed="rId2"/>
          <a:srcRect l="24992" t="85336" r="64584" b="4494"/>
          <a:stretch/>
        </p:blipFill>
        <p:spPr>
          <a:xfrm>
            <a:off x="3305272" y="4458131"/>
            <a:ext cx="1932060" cy="1148550"/>
          </a:xfrm>
          <a:prstGeom prst="rect">
            <a:avLst/>
          </a:prstGeom>
          <a:ln>
            <a:noFill/>
          </a:ln>
        </p:spPr>
      </p:pic>
      <p:pic>
        <p:nvPicPr>
          <p:cNvPr id="345" name="Рисунок 21"/>
          <p:cNvPicPr/>
          <p:nvPr/>
        </p:nvPicPr>
        <p:blipFill>
          <a:blip r:embed="rId3"/>
          <a:stretch/>
        </p:blipFill>
        <p:spPr>
          <a:xfrm>
            <a:off x="5824282" y="1417689"/>
            <a:ext cx="1847040" cy="4044300"/>
          </a:xfrm>
          <a:prstGeom prst="rect">
            <a:avLst/>
          </a:prstGeom>
          <a:ln>
            <a:noFill/>
          </a:ln>
        </p:spPr>
      </p:pic>
      <p:pic>
        <p:nvPicPr>
          <p:cNvPr id="346" name="Рисунок 22"/>
          <p:cNvPicPr/>
          <p:nvPr/>
        </p:nvPicPr>
        <p:blipFill>
          <a:blip r:embed="rId4"/>
          <a:stretch/>
        </p:blipFill>
        <p:spPr>
          <a:xfrm>
            <a:off x="7772722" y="1417689"/>
            <a:ext cx="1847040" cy="4044300"/>
          </a:xfrm>
          <a:prstGeom prst="rect">
            <a:avLst/>
          </a:prstGeom>
          <a:ln>
            <a:noFill/>
          </a:ln>
        </p:spPr>
      </p:pic>
      <p:sp>
        <p:nvSpPr>
          <p:cNvPr id="11" name="CustomShape 10"/>
          <p:cNvSpPr/>
          <p:nvPr/>
        </p:nvSpPr>
        <p:spPr>
          <a:xfrm>
            <a:off x="528060" y="410519"/>
            <a:ext cx="5426850" cy="3651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7500" tIns="48750" rIns="97500" bIns="48750">
            <a:spAutoFit/>
          </a:bodyPr>
          <a:lstStyle/>
          <a:p>
            <a:pPr>
              <a:lnSpc>
                <a:spcPct val="100000"/>
              </a:lnSpc>
            </a:pPr>
            <a:r>
              <a:rPr lang="ru-RU" sz="1733" b="1" cap="all" spc="-1" dirty="0">
                <a:solidFill>
                  <a:srgbClr val="5B9BD5"/>
                </a:solidFill>
                <a:latin typeface="Calibri"/>
                <a:ea typeface="DejaVu Sans"/>
              </a:rPr>
              <a:t>Направления развития </a:t>
            </a:r>
            <a:r>
              <a:rPr lang="ru-RU" sz="1733" b="1" cap="all" spc="-1" dirty="0" smtClean="0">
                <a:solidFill>
                  <a:srgbClr val="5B9BD5"/>
                </a:solidFill>
                <a:latin typeface="Calibri"/>
                <a:ea typeface="DejaVu Sans"/>
              </a:rPr>
              <a:t>СВС ТБ и ПБ</a:t>
            </a:r>
            <a:endParaRPr lang="ru-RU" sz="1733" spc="-1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107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61536" y="283301"/>
            <a:ext cx="9344240" cy="750206"/>
          </a:xfrm>
        </p:spPr>
        <p:txBody>
          <a:bodyPr vert="horz" lIns="74295" tIns="37148" rIns="74295" bIns="37148" rtlCol="0" anchor="ctr">
            <a:noAutofit/>
          </a:bodyPr>
          <a:lstStyle/>
          <a:p>
            <a:r>
              <a:rPr lang="ru-RU" sz="20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ыт Кольской АЭС: </a:t>
            </a:r>
            <a:br>
              <a:rPr lang="ru-RU" sz="20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20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ные вопросы при внедрении «машинного </a:t>
            </a:r>
            <a:r>
              <a:rPr lang="ru-RU" sz="200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ения»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8" name="Прямоугольник 217">
            <a:extLst>
              <a:ext uri="{FF2B5EF4-FFF2-40B4-BE49-F238E27FC236}">
                <a16:creationId xmlns:a16="http://schemas.microsoft.com/office/drawing/2014/main" id="{23C5DDD8-0418-E04C-8B06-EA1CB5EA5FBC}"/>
              </a:ext>
            </a:extLst>
          </p:cNvPr>
          <p:cNvSpPr/>
          <p:nvPr/>
        </p:nvSpPr>
        <p:spPr>
          <a:xfrm>
            <a:off x="447261" y="1131284"/>
            <a:ext cx="8997634" cy="49090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488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. Организация команды проекта и формирование  заказчиком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сновных целей проекта: формировани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команды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лючевых пользователей от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нспекционных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лужб,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ивлечение целевых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дразделений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ыделенных работников от подрядчиков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488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2. Проведение большого количеств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идеозаписей событий для обучения системы – десятки часов видео: в реальных помещениях 11 часов, в студии 16 часов.</a:t>
            </a:r>
          </a:p>
          <a:p>
            <a:pPr algn="just">
              <a:spcAft>
                <a:spcPts val="488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3. Проведение разметки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идеопотоков: на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зметку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33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атегорий событий из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еального видео было извлечено 7300 кадров, из студийного видео было извлечено 8100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адров и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трачено приблизительно 1320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человеко-часов (разметка велась 3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пециалистами окол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55 рабочих дней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8 часов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488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4. Подключение к серверу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идеоаналитики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уществующих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p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-видеокамер, настройка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ip-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идеокамер под требуемые характеристики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488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оличество камер определялось проект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учитывающим размеры и геометрию помещений, конфигурацию установленного в нём оборудования, пути следования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ерсонал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 с учетом зоны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етектирования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амеры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е более 5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метров.</a:t>
            </a:r>
          </a:p>
          <a:p>
            <a:pPr algn="just">
              <a:spcAft>
                <a:spcPts val="488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5. В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мещениях должна быть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ена хорошая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свещённость: не менее 500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лк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зоне детектирования.</a:t>
            </a:r>
          </a:p>
          <a:p>
            <a:pPr algn="just">
              <a:spcAft>
                <a:spcPts val="488"/>
              </a:spcAft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6. Обучение системы сразу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сем видам спецодежды работников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АЭС, а также  спецодежде</a:t>
            </a:r>
            <a:r>
              <a:rPr lang="ru-RU" sz="160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одрядчиков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(ремонтники, монтажники,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клининг).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78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>
                <a:latin typeface="Arial" pitchFamily="34" charset="0"/>
                <a:cs typeface="Arial" pitchFamily="34" charset="0"/>
              </a:rPr>
              <a:t>Приложения (все таблицы с мелким шрифтом, подробная информация, справочная информация и т.д.)</a:t>
            </a:r>
            <a:endParaRPr lang="ru-RU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906000" cy="6858594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79512" y="692696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400" b="1" kern="0" dirty="0" smtClean="0">
                <a:solidFill>
                  <a:srgbClr val="003274"/>
                </a:solidFill>
                <a:latin typeface="Arial"/>
                <a:ea typeface="+mj-ea"/>
              </a:rPr>
              <a:t>СПАСИБО ЗА ВНИМ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3260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stomShape 1"/>
          <p:cNvSpPr/>
          <p:nvPr/>
        </p:nvSpPr>
        <p:spPr>
          <a:xfrm>
            <a:off x="673330" y="1642177"/>
            <a:ext cx="519090" cy="4223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60" dir="5400000" algn="t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7500" tIns="48750" rIns="97500" bIns="4875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2167" b="1" spc="-1">
                <a:solidFill>
                  <a:srgbClr val="ED7D31"/>
                </a:solidFill>
                <a:latin typeface="Calibri"/>
                <a:ea typeface="DejaVu Sans"/>
              </a:rPr>
              <a:t>1</a:t>
            </a:r>
            <a:endParaRPr lang="ru-RU" sz="2167" spc="-1">
              <a:latin typeface="Arial"/>
            </a:endParaRPr>
          </a:p>
        </p:txBody>
      </p:sp>
      <p:sp>
        <p:nvSpPr>
          <p:cNvPr id="5" name="CustomShape 2"/>
          <p:cNvSpPr/>
          <p:nvPr/>
        </p:nvSpPr>
        <p:spPr>
          <a:xfrm>
            <a:off x="673330" y="2599627"/>
            <a:ext cx="519090" cy="4223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60" dir="5400000" algn="t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7500" tIns="48750" rIns="97500" bIns="4875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2167" b="1" spc="-1">
                <a:solidFill>
                  <a:srgbClr val="ED7D31"/>
                </a:solidFill>
                <a:latin typeface="Calibri"/>
                <a:ea typeface="DejaVu Sans"/>
              </a:rPr>
              <a:t>2</a:t>
            </a:r>
            <a:endParaRPr lang="ru-RU" sz="2167" spc="-1">
              <a:latin typeface="Arial"/>
            </a:endParaRPr>
          </a:p>
        </p:txBody>
      </p:sp>
      <p:sp>
        <p:nvSpPr>
          <p:cNvPr id="6" name="CustomShape 3"/>
          <p:cNvSpPr/>
          <p:nvPr/>
        </p:nvSpPr>
        <p:spPr>
          <a:xfrm>
            <a:off x="673330" y="3571897"/>
            <a:ext cx="519090" cy="4223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60" dir="5400000" algn="t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7500" tIns="48750" rIns="97500" bIns="4875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2167" b="1" spc="-1">
                <a:solidFill>
                  <a:srgbClr val="ED7D31"/>
                </a:solidFill>
                <a:latin typeface="Calibri"/>
                <a:ea typeface="DejaVu Sans"/>
              </a:rPr>
              <a:t>3</a:t>
            </a:r>
            <a:endParaRPr lang="ru-RU" sz="2167" spc="-1">
              <a:latin typeface="Arial"/>
            </a:endParaRPr>
          </a:p>
        </p:txBody>
      </p:sp>
      <p:sp>
        <p:nvSpPr>
          <p:cNvPr id="7" name="CustomShape 4"/>
          <p:cNvSpPr/>
          <p:nvPr/>
        </p:nvSpPr>
        <p:spPr>
          <a:xfrm>
            <a:off x="673330" y="4544167"/>
            <a:ext cx="519090" cy="42237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60" dir="5400000" algn="t" rotWithShape="0">
              <a:srgbClr val="000000">
                <a:alpha val="4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7500" tIns="48750" rIns="97500" bIns="48750" anchor="ctr"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2167" b="1" spc="-1">
                <a:solidFill>
                  <a:srgbClr val="ED7D31"/>
                </a:solidFill>
                <a:latin typeface="Calibri"/>
                <a:ea typeface="DejaVu Sans"/>
              </a:rPr>
              <a:t>4</a:t>
            </a:r>
            <a:endParaRPr lang="ru-RU" sz="2167" spc="-1">
              <a:latin typeface="Arial"/>
            </a:endParaRPr>
          </a:p>
        </p:txBody>
      </p:sp>
      <p:grpSp>
        <p:nvGrpSpPr>
          <p:cNvPr id="8" name="Group 5"/>
          <p:cNvGrpSpPr/>
          <p:nvPr/>
        </p:nvGrpSpPr>
        <p:grpSpPr>
          <a:xfrm>
            <a:off x="6029590" y="2041927"/>
            <a:ext cx="12870" cy="2871960"/>
            <a:chOff x="5099040" y="1688760"/>
            <a:chExt cx="11880" cy="2651040"/>
          </a:xfrm>
        </p:grpSpPr>
        <p:sp>
          <p:nvSpPr>
            <p:cNvPr id="9" name="CustomShape 6"/>
            <p:cNvSpPr/>
            <p:nvPr/>
          </p:nvSpPr>
          <p:spPr>
            <a:xfrm>
              <a:off x="5099040" y="1688760"/>
              <a:ext cx="11880" cy="883080"/>
            </a:xfrm>
            <a:prstGeom prst="bentConnector3">
              <a:avLst>
                <a:gd name="adj1" fmla="val 1800000"/>
              </a:avLst>
            </a:prstGeom>
            <a:noFill/>
            <a:ln>
              <a:solidFill>
                <a:srgbClr val="5597D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10" name="CustomShape 7"/>
            <p:cNvSpPr/>
            <p:nvPr/>
          </p:nvSpPr>
          <p:spPr>
            <a:xfrm>
              <a:off x="5099040" y="2572920"/>
              <a:ext cx="11880" cy="883080"/>
            </a:xfrm>
            <a:prstGeom prst="bentConnector3">
              <a:avLst>
                <a:gd name="adj1" fmla="val 1800000"/>
              </a:avLst>
            </a:prstGeom>
            <a:noFill/>
            <a:ln>
              <a:solidFill>
                <a:srgbClr val="5597D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11" name="CustomShape 8"/>
            <p:cNvSpPr/>
            <p:nvPr/>
          </p:nvSpPr>
          <p:spPr>
            <a:xfrm>
              <a:off x="5099040" y="3456720"/>
              <a:ext cx="11880" cy="883080"/>
            </a:xfrm>
            <a:prstGeom prst="bentConnector3">
              <a:avLst>
                <a:gd name="adj1" fmla="val 1800000"/>
              </a:avLst>
            </a:prstGeom>
            <a:noFill/>
            <a:ln>
              <a:solidFill>
                <a:srgbClr val="5597D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/>
          </p:style>
        </p:sp>
      </p:grpSp>
      <p:sp>
        <p:nvSpPr>
          <p:cNvPr id="12" name="CustomShape 10"/>
          <p:cNvSpPr/>
          <p:nvPr/>
        </p:nvSpPr>
        <p:spPr>
          <a:xfrm>
            <a:off x="469600" y="451554"/>
            <a:ext cx="5426850" cy="36512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7500" tIns="48750" rIns="97500" bIns="48750">
            <a:spAutoFit/>
          </a:bodyPr>
          <a:lstStyle/>
          <a:p>
            <a:pPr>
              <a:lnSpc>
                <a:spcPct val="100000"/>
              </a:lnSpc>
            </a:pPr>
            <a:r>
              <a:rPr lang="ru-RU" sz="1733" b="1" cap="all" spc="-1" dirty="0">
                <a:solidFill>
                  <a:srgbClr val="5B9BD5"/>
                </a:solidFill>
                <a:latin typeface="Calibri"/>
                <a:ea typeface="DejaVu Sans"/>
              </a:rPr>
              <a:t>ЦЕЛИ создания </a:t>
            </a:r>
            <a:r>
              <a:rPr lang="ru-RU" sz="1733" b="1" cap="all" spc="-1" dirty="0" smtClean="0">
                <a:solidFill>
                  <a:srgbClr val="5B9BD5"/>
                </a:solidFill>
                <a:latin typeface="Calibri"/>
                <a:ea typeface="DejaVu Sans"/>
              </a:rPr>
              <a:t>системы</a:t>
            </a:r>
            <a:endParaRPr lang="ru-RU" sz="1733" spc="-1" dirty="0">
              <a:latin typeface="Arial"/>
            </a:endParaRPr>
          </a:p>
        </p:txBody>
      </p:sp>
      <p:grpSp>
        <p:nvGrpSpPr>
          <p:cNvPr id="13" name="Group 11"/>
          <p:cNvGrpSpPr/>
          <p:nvPr/>
        </p:nvGrpSpPr>
        <p:grpSpPr>
          <a:xfrm>
            <a:off x="1193590" y="1642177"/>
            <a:ext cx="4929990" cy="885300"/>
            <a:chOff x="635040" y="1319760"/>
            <a:chExt cx="4550760" cy="817200"/>
          </a:xfrm>
        </p:grpSpPr>
        <p:sp>
          <p:nvSpPr>
            <p:cNvPr id="14" name="CustomShape 12"/>
            <p:cNvSpPr/>
            <p:nvPr/>
          </p:nvSpPr>
          <p:spPr>
            <a:xfrm>
              <a:off x="716040" y="1399320"/>
              <a:ext cx="4469760" cy="73764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15" name="CustomShape 13"/>
            <p:cNvSpPr/>
            <p:nvPr/>
          </p:nvSpPr>
          <p:spPr>
            <a:xfrm>
              <a:off x="635040" y="1319760"/>
              <a:ext cx="4469760" cy="737640"/>
            </a:xfrm>
            <a:prstGeom prst="rect">
              <a:avLst/>
            </a:prstGeom>
            <a:solidFill>
              <a:srgbClr val="EEF5FB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7500" tIns="48750" rIns="97500" bIns="48750" anchor="ctr">
              <a:noAutofit/>
            </a:bodyPr>
            <a:lstStyle/>
            <a:p>
              <a:pPr algn="just">
                <a:lnSpc>
                  <a:spcPct val="100000"/>
                </a:lnSpc>
              </a:pPr>
              <a:r>
                <a:rPr lang="ru-RU" sz="1192" b="1" spc="-1" dirty="0">
                  <a:solidFill>
                    <a:srgbClr val="000000"/>
                  </a:solidFill>
                  <a:latin typeface="Calibri"/>
                  <a:ea typeface="DejaVu Sans"/>
                </a:rPr>
                <a:t>Обеспечение безопасности при использовании атомной энергии и защита персонала АЭС</a:t>
              </a:r>
              <a:r>
                <a:rPr lang="ru-RU" sz="1192" spc="-1" dirty="0">
                  <a:solidFill>
                    <a:srgbClr val="000000"/>
                  </a:solidFill>
                  <a:latin typeface="Calibri"/>
                  <a:ea typeface="DejaVu Sans"/>
                </a:rPr>
                <a:t> путем создания и поддержания эффективных мер защиты.</a:t>
              </a:r>
              <a:endParaRPr lang="ru-RU" sz="1192" spc="-1" dirty="0">
                <a:latin typeface="Arial"/>
              </a:endParaRPr>
            </a:p>
          </p:txBody>
        </p:sp>
      </p:grpSp>
      <p:grpSp>
        <p:nvGrpSpPr>
          <p:cNvPr id="16" name="Group 14"/>
          <p:cNvGrpSpPr/>
          <p:nvPr/>
        </p:nvGrpSpPr>
        <p:grpSpPr>
          <a:xfrm>
            <a:off x="1193590" y="2599627"/>
            <a:ext cx="4929990" cy="887250"/>
            <a:chOff x="635040" y="2203560"/>
            <a:chExt cx="4550760" cy="819000"/>
          </a:xfrm>
        </p:grpSpPr>
        <p:sp>
          <p:nvSpPr>
            <p:cNvPr id="17" name="CustomShape 15"/>
            <p:cNvSpPr/>
            <p:nvPr/>
          </p:nvSpPr>
          <p:spPr>
            <a:xfrm>
              <a:off x="716040" y="2284920"/>
              <a:ext cx="4469760" cy="73764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18" name="CustomShape 16"/>
            <p:cNvSpPr/>
            <p:nvPr/>
          </p:nvSpPr>
          <p:spPr>
            <a:xfrm>
              <a:off x="635040" y="2203560"/>
              <a:ext cx="4469760" cy="737640"/>
            </a:xfrm>
            <a:prstGeom prst="rect">
              <a:avLst/>
            </a:prstGeom>
            <a:solidFill>
              <a:srgbClr val="EEF5FB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7500" tIns="48750" rIns="97500" bIns="48750" anchor="ctr">
              <a:noAutofit/>
            </a:bodyPr>
            <a:lstStyle/>
            <a:p>
              <a:pPr algn="just">
                <a:lnSpc>
                  <a:spcPct val="100000"/>
                </a:lnSpc>
              </a:pPr>
              <a:r>
                <a:rPr lang="ru-RU" sz="1192" spc="-1" dirty="0">
                  <a:solidFill>
                    <a:srgbClr val="000000"/>
                  </a:solidFill>
                  <a:latin typeface="Calibri"/>
                  <a:ea typeface="DejaVu Sans"/>
                </a:rPr>
                <a:t>Создание автоматизированной системы </a:t>
              </a:r>
              <a:r>
                <a:rPr lang="ru-RU" sz="1192" b="1" spc="-1" dirty="0">
                  <a:solidFill>
                    <a:srgbClr val="000000"/>
                  </a:solidFill>
                  <a:latin typeface="Calibri"/>
                  <a:ea typeface="DejaVu Sans"/>
                </a:rPr>
                <a:t>контроля соблюдения требований ТБ и </a:t>
              </a:r>
              <a:r>
                <a:rPr lang="ru-RU" sz="1192" b="1" spc="-1" dirty="0" smtClean="0">
                  <a:solidFill>
                    <a:srgbClr val="000000"/>
                  </a:solidFill>
                  <a:latin typeface="Calibri"/>
                  <a:ea typeface="DejaVu Sans"/>
                </a:rPr>
                <a:t>применения</a:t>
              </a:r>
              <a:r>
                <a:rPr lang="ru-RU" sz="1192" b="1" spc="-1" dirty="0" smtClean="0">
                  <a:solidFill>
                    <a:srgbClr val="000000"/>
                  </a:solidFill>
                  <a:latin typeface="Calibri"/>
                  <a:ea typeface="DejaVu Sans"/>
                </a:rPr>
                <a:t> СИЗ</a:t>
              </a:r>
              <a:r>
                <a:rPr lang="ru-RU" sz="1192" spc="-1" dirty="0">
                  <a:solidFill>
                    <a:srgbClr val="000000"/>
                  </a:solidFill>
                  <a:latin typeface="Calibri"/>
                  <a:ea typeface="DejaVu Sans"/>
                </a:rPr>
                <a:t> </a:t>
              </a:r>
              <a:r>
                <a:rPr lang="ru-RU" sz="1192" spc="-1" dirty="0" smtClean="0">
                  <a:solidFill>
                    <a:srgbClr val="000000"/>
                  </a:solidFill>
                  <a:latin typeface="Calibri"/>
                  <a:ea typeface="DejaVu Sans"/>
                </a:rPr>
                <a:t>в режиме </a:t>
              </a:r>
              <a:r>
                <a:rPr lang="ru-RU" sz="1192" spc="-1" dirty="0">
                  <a:solidFill>
                    <a:srgbClr val="000000"/>
                  </a:solidFill>
                  <a:latin typeface="Calibri"/>
                  <a:ea typeface="DejaVu Sans"/>
                </a:rPr>
                <a:t>реального времени</a:t>
              </a:r>
              <a:r>
                <a:rPr lang="ru-RU" sz="1192" spc="-1" dirty="0" smtClean="0">
                  <a:solidFill>
                    <a:srgbClr val="000000"/>
                  </a:solidFill>
                  <a:latin typeface="Calibri"/>
                  <a:ea typeface="DejaVu Sans"/>
                </a:rPr>
                <a:t> и как следствие - </a:t>
              </a:r>
              <a:r>
                <a:rPr lang="ru-RU" sz="1192" b="1" spc="-1" dirty="0" smtClean="0">
                  <a:solidFill>
                    <a:srgbClr val="000000"/>
                  </a:solidFill>
                  <a:latin typeface="Calibri"/>
                  <a:ea typeface="DejaVu Sans"/>
                </a:rPr>
                <a:t>предотвращение </a:t>
              </a:r>
              <a:r>
                <a:rPr lang="ru-RU" sz="1192" b="1" spc="-1" dirty="0">
                  <a:solidFill>
                    <a:srgbClr val="000000"/>
                  </a:solidFill>
                  <a:latin typeface="Calibri"/>
                  <a:ea typeface="DejaVu Sans"/>
                </a:rPr>
                <a:t>случаев производственного </a:t>
              </a:r>
              <a:r>
                <a:rPr lang="ru-RU" sz="1192" b="1" spc="-1" dirty="0" smtClean="0">
                  <a:solidFill>
                    <a:srgbClr val="000000"/>
                  </a:solidFill>
                  <a:latin typeface="Calibri"/>
                  <a:ea typeface="DejaVu Sans"/>
                </a:rPr>
                <a:t>травматизма</a:t>
              </a:r>
              <a:r>
                <a:rPr lang="ru-RU" sz="1192" spc="-1" dirty="0" smtClean="0">
                  <a:solidFill>
                    <a:srgbClr val="000000"/>
                  </a:solidFill>
                  <a:latin typeface="Calibri"/>
                  <a:ea typeface="DejaVu Sans"/>
                </a:rPr>
                <a:t>.</a:t>
              </a:r>
              <a:endParaRPr lang="ru-RU" sz="1192" spc="-1" dirty="0">
                <a:latin typeface="Arial"/>
              </a:endParaRPr>
            </a:p>
          </p:txBody>
        </p:sp>
      </p:grpSp>
      <p:grpSp>
        <p:nvGrpSpPr>
          <p:cNvPr id="19" name="Group 17"/>
          <p:cNvGrpSpPr/>
          <p:nvPr/>
        </p:nvGrpSpPr>
        <p:grpSpPr>
          <a:xfrm>
            <a:off x="1193590" y="3571897"/>
            <a:ext cx="4929990" cy="887250"/>
            <a:chOff x="635040" y="3101040"/>
            <a:chExt cx="4550760" cy="819000"/>
          </a:xfrm>
        </p:grpSpPr>
        <p:sp>
          <p:nvSpPr>
            <p:cNvPr id="20" name="CustomShape 18"/>
            <p:cNvSpPr/>
            <p:nvPr/>
          </p:nvSpPr>
          <p:spPr>
            <a:xfrm>
              <a:off x="716040" y="3182400"/>
              <a:ext cx="4469760" cy="73764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21" name="CustomShape 19"/>
            <p:cNvSpPr/>
            <p:nvPr/>
          </p:nvSpPr>
          <p:spPr>
            <a:xfrm>
              <a:off x="635040" y="3101040"/>
              <a:ext cx="4469760" cy="737640"/>
            </a:xfrm>
            <a:prstGeom prst="rect">
              <a:avLst/>
            </a:prstGeom>
            <a:solidFill>
              <a:srgbClr val="EEF5FB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7500" tIns="48750" rIns="97500" bIns="48750" anchor="ctr">
              <a:noAutofit/>
            </a:bodyPr>
            <a:lstStyle/>
            <a:p>
              <a:pPr algn="just">
                <a:lnSpc>
                  <a:spcPct val="100000"/>
                </a:lnSpc>
              </a:pPr>
              <a:r>
                <a:rPr lang="ru-RU" sz="1192" b="1" spc="-1" dirty="0">
                  <a:solidFill>
                    <a:srgbClr val="000000"/>
                  </a:solidFill>
                  <a:latin typeface="Calibri"/>
                  <a:ea typeface="DejaVu Sans"/>
                </a:rPr>
                <a:t>Снижение количества нарушений ТБ и </a:t>
              </a:r>
              <a:r>
                <a:rPr lang="ru-RU" sz="1192" b="1" spc="-1" dirty="0" smtClean="0">
                  <a:solidFill>
                    <a:srgbClr val="000000"/>
                  </a:solidFill>
                  <a:latin typeface="Calibri"/>
                  <a:ea typeface="DejaVu Sans"/>
                </a:rPr>
                <a:t>ПБ</a:t>
              </a:r>
              <a:r>
                <a:rPr lang="ru-RU" sz="1192" spc="-1" dirty="0">
                  <a:solidFill>
                    <a:srgbClr val="000000"/>
                  </a:solidFill>
                  <a:latin typeface="Calibri"/>
                  <a:ea typeface="DejaVu Sans"/>
                </a:rPr>
                <a:t> </a:t>
              </a:r>
              <a:r>
                <a:rPr lang="ru-RU" sz="1192" spc="-1" dirty="0" smtClean="0">
                  <a:solidFill>
                    <a:srgbClr val="000000"/>
                  </a:solidFill>
                  <a:latin typeface="Calibri"/>
                  <a:ea typeface="DejaVu Sans"/>
                </a:rPr>
                <a:t>из-за </a:t>
              </a:r>
              <a:r>
                <a:rPr lang="ru-RU" sz="1192" spc="-1" dirty="0" smtClean="0">
                  <a:solidFill>
                    <a:srgbClr val="000000"/>
                  </a:solidFill>
                  <a:latin typeface="Calibri"/>
                  <a:ea typeface="DejaVu Sans"/>
                </a:rPr>
                <a:t>повышения </a:t>
              </a:r>
              <a:r>
                <a:rPr lang="ru-RU" sz="1192" spc="-1" dirty="0">
                  <a:solidFill>
                    <a:srgbClr val="000000"/>
                  </a:solidFill>
                  <a:latin typeface="Calibri"/>
                  <a:ea typeface="DejaVu Sans"/>
                </a:rPr>
                <a:t>трудовой дисциплины, </a:t>
              </a:r>
              <a:r>
                <a:rPr lang="ru-RU" sz="1192" spc="-1" dirty="0" smtClean="0">
                  <a:solidFill>
                    <a:srgbClr val="000000"/>
                  </a:solidFill>
                  <a:latin typeface="Calibri"/>
                  <a:ea typeface="DejaVu Sans"/>
                </a:rPr>
                <a:t>изменения </a:t>
              </a:r>
              <a:r>
                <a:rPr lang="ru-RU" sz="1192" spc="-1" dirty="0">
                  <a:solidFill>
                    <a:srgbClr val="000000"/>
                  </a:solidFill>
                  <a:latin typeface="Calibri"/>
                  <a:ea typeface="DejaVu Sans"/>
                </a:rPr>
                <a:t>поведения работников. Оптимизация расходов на ПБ и ТБ, снижение потерь из-за травматизма, ремонтов и простоя оборудования.</a:t>
              </a:r>
              <a:endParaRPr lang="ru-RU" sz="1192" spc="-1" dirty="0">
                <a:latin typeface="Arial"/>
              </a:endParaRPr>
            </a:p>
          </p:txBody>
        </p:sp>
      </p:grpSp>
      <p:grpSp>
        <p:nvGrpSpPr>
          <p:cNvPr id="22" name="Group 20"/>
          <p:cNvGrpSpPr/>
          <p:nvPr/>
        </p:nvGrpSpPr>
        <p:grpSpPr>
          <a:xfrm>
            <a:off x="1193590" y="4544167"/>
            <a:ext cx="4929990" cy="887250"/>
            <a:chOff x="635040" y="3998520"/>
            <a:chExt cx="4550760" cy="819000"/>
          </a:xfrm>
        </p:grpSpPr>
        <p:sp>
          <p:nvSpPr>
            <p:cNvPr id="23" name="CustomShape 21"/>
            <p:cNvSpPr/>
            <p:nvPr/>
          </p:nvSpPr>
          <p:spPr>
            <a:xfrm>
              <a:off x="716040" y="4079880"/>
              <a:ext cx="4469760" cy="73764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</p:sp>
        <p:sp>
          <p:nvSpPr>
            <p:cNvPr id="24" name="CustomShape 22"/>
            <p:cNvSpPr/>
            <p:nvPr/>
          </p:nvSpPr>
          <p:spPr>
            <a:xfrm>
              <a:off x="635040" y="3998520"/>
              <a:ext cx="4469760" cy="737640"/>
            </a:xfrm>
            <a:prstGeom prst="rect">
              <a:avLst/>
            </a:prstGeom>
            <a:solidFill>
              <a:srgbClr val="EEF5FB"/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/>
          </p:style>
          <p:txBody>
            <a:bodyPr lIns="97500" tIns="48750" rIns="97500" bIns="48750" anchor="ctr">
              <a:noAutofit/>
            </a:bodyPr>
            <a:lstStyle/>
            <a:p>
              <a:pPr algn="just">
                <a:lnSpc>
                  <a:spcPct val="100000"/>
                </a:lnSpc>
              </a:pPr>
              <a:r>
                <a:rPr lang="ru-RU" sz="1192" b="1" spc="-1">
                  <a:solidFill>
                    <a:srgbClr val="000000"/>
                  </a:solidFill>
                  <a:latin typeface="Calibri"/>
                  <a:ea typeface="DejaVu Sans"/>
                </a:rPr>
                <a:t>Реализация программ цифровизации</a:t>
              </a:r>
              <a:r>
                <a:rPr lang="ru-RU" sz="1192" spc="-1">
                  <a:solidFill>
                    <a:srgbClr val="000000"/>
                  </a:solidFill>
                  <a:latin typeface="Calibri"/>
                  <a:ea typeface="DejaVu Sans"/>
                </a:rPr>
                <a:t> производства и программы снижения травматизма Vision Zero и положений указа Президента РФ от 06.05.2018 № 198 «Об Основах государственной политики РФ в области промышленной безопасности до 2025 г.»</a:t>
              </a:r>
              <a:endParaRPr lang="ru-RU" sz="1192" spc="-1">
                <a:latin typeface="Arial"/>
              </a:endParaRPr>
            </a:p>
          </p:txBody>
        </p:sp>
      </p:grpSp>
      <p:pic>
        <p:nvPicPr>
          <p:cNvPr id="25" name="Рисунок 92"/>
          <p:cNvPicPr/>
          <p:nvPr/>
        </p:nvPicPr>
        <p:blipFill>
          <a:blip r:embed="rId2"/>
          <a:srcRect l="8920" t="26025" r="8742" b="19949"/>
          <a:stretch/>
        </p:blipFill>
        <p:spPr>
          <a:xfrm>
            <a:off x="6430827" y="1642177"/>
            <a:ext cx="2576730" cy="3701490"/>
          </a:xfrm>
          <a:prstGeom prst="rect">
            <a:avLst/>
          </a:prstGeom>
          <a:ln>
            <a:noFill/>
          </a:ln>
          <a:effectLst>
            <a:outerShdw blurRad="50800" dist="38160" dir="5400000" algn="t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83415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:p15="http://schemas.microsoft.com/office/powerpoint/2012/main" xmlns="">
      <p:transition spd="slow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53363" y="237103"/>
            <a:ext cx="9544498" cy="750206"/>
          </a:xfrm>
        </p:spPr>
        <p:txBody>
          <a:bodyPr vert="horz" lIns="74295" tIns="37148" rIns="74295" bIns="37148" rtlCol="0" anchor="ctr">
            <a:noAutofit/>
          </a:bodyPr>
          <a:lstStyle/>
          <a:p>
            <a: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 внедрения Системы видеоанализа соблюдения </a:t>
            </a:r>
            <a:b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ки безопасности и промышленной безопасности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1" name="Прямоугольник 210">
            <a:extLst>
              <a:ext uri="{FF2B5EF4-FFF2-40B4-BE49-F238E27FC236}">
                <a16:creationId xmlns:a16="http://schemas.microsoft.com/office/drawing/2014/main" id="{B521509B-6E95-D747-8F8D-C3DBD62452B3}"/>
              </a:ext>
            </a:extLst>
          </p:cNvPr>
          <p:cNvSpPr/>
          <p:nvPr/>
        </p:nvSpPr>
        <p:spPr>
          <a:xfrm>
            <a:off x="1397071" y="1183450"/>
            <a:ext cx="93429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cap="all" dirty="0">
                <a:latin typeface="Arial" panose="020B0604020202020204" pitchFamily="34" charset="0"/>
                <a:cs typeface="Arial" panose="020B0604020202020204" pitchFamily="34" charset="0"/>
              </a:rPr>
              <a:t>Задача</a:t>
            </a:r>
          </a:p>
        </p:txBody>
      </p:sp>
      <p:sp>
        <p:nvSpPr>
          <p:cNvPr id="218" name="Прямоугольник 217">
            <a:extLst>
              <a:ext uri="{FF2B5EF4-FFF2-40B4-BE49-F238E27FC236}">
                <a16:creationId xmlns:a16="http://schemas.microsoft.com/office/drawing/2014/main" id="{23C5DDD8-0418-E04C-8B06-EA1CB5EA5FBC}"/>
              </a:ext>
            </a:extLst>
          </p:cNvPr>
          <p:cNvSpPr/>
          <p:nvPr/>
        </p:nvSpPr>
        <p:spPr>
          <a:xfrm>
            <a:off x="439120" y="1685934"/>
            <a:ext cx="3289222" cy="6740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Aft>
                <a:spcPts val="488"/>
              </a:spcAft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Контроль использования СИЗ во время проведения работ в режиме реального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времени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4" name="Группа 223">
            <a:extLst>
              <a:ext uri="{FF2B5EF4-FFF2-40B4-BE49-F238E27FC236}">
                <a16:creationId xmlns:a16="http://schemas.microsoft.com/office/drawing/2014/main" id="{A2046495-7ED0-F74D-B534-63500A6D0456}"/>
              </a:ext>
            </a:extLst>
          </p:cNvPr>
          <p:cNvGrpSpPr/>
          <p:nvPr/>
        </p:nvGrpSpPr>
        <p:grpSpPr>
          <a:xfrm>
            <a:off x="4075976" y="1306152"/>
            <a:ext cx="782845" cy="62372"/>
            <a:chOff x="3201443" y="3172565"/>
            <a:chExt cx="1295982" cy="103256"/>
          </a:xfrm>
        </p:grpSpPr>
        <p:sp>
          <p:nvSpPr>
            <p:cNvPr id="225" name="Фигура, имеющая форму буквы L 224">
              <a:extLst>
                <a:ext uri="{FF2B5EF4-FFF2-40B4-BE49-F238E27FC236}">
                  <a16:creationId xmlns:a16="http://schemas.microsoft.com/office/drawing/2014/main" id="{C785E172-32BD-B843-B78D-96582583072F}"/>
                </a:ext>
              </a:extLst>
            </p:cNvPr>
            <p:cNvSpPr/>
            <p:nvPr/>
          </p:nvSpPr>
          <p:spPr>
            <a:xfrm rot="13500000">
              <a:off x="3201443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6" name="Фигура, имеющая форму буквы L 225">
              <a:extLst>
                <a:ext uri="{FF2B5EF4-FFF2-40B4-BE49-F238E27FC236}">
                  <a16:creationId xmlns:a16="http://schemas.microsoft.com/office/drawing/2014/main" id="{8A3FC224-18F6-7948-AD42-386FE8EA553B}"/>
                </a:ext>
              </a:extLst>
            </p:cNvPr>
            <p:cNvSpPr/>
            <p:nvPr/>
          </p:nvSpPr>
          <p:spPr>
            <a:xfrm rot="13500000">
              <a:off x="3350534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7" name="Фигура, имеющая форму буквы L 226">
              <a:extLst>
                <a:ext uri="{FF2B5EF4-FFF2-40B4-BE49-F238E27FC236}">
                  <a16:creationId xmlns:a16="http://schemas.microsoft.com/office/drawing/2014/main" id="{FE3CE466-AFA5-7043-B4F8-F9A4FA3A6780}"/>
                </a:ext>
              </a:extLst>
            </p:cNvPr>
            <p:cNvSpPr/>
            <p:nvPr/>
          </p:nvSpPr>
          <p:spPr>
            <a:xfrm rot="13500000">
              <a:off x="3499625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8" name="Фигура, имеющая форму буквы L 227">
              <a:extLst>
                <a:ext uri="{FF2B5EF4-FFF2-40B4-BE49-F238E27FC236}">
                  <a16:creationId xmlns:a16="http://schemas.microsoft.com/office/drawing/2014/main" id="{F5B0C544-21C7-F246-9598-345EF957AC78}"/>
                </a:ext>
              </a:extLst>
            </p:cNvPr>
            <p:cNvSpPr/>
            <p:nvPr/>
          </p:nvSpPr>
          <p:spPr>
            <a:xfrm rot="13500000">
              <a:off x="3648716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9" name="Фигура, имеющая форму буквы L 228">
              <a:extLst>
                <a:ext uri="{FF2B5EF4-FFF2-40B4-BE49-F238E27FC236}">
                  <a16:creationId xmlns:a16="http://schemas.microsoft.com/office/drawing/2014/main" id="{079C6E1B-EF64-D84E-B841-CBD0DBAAD6E5}"/>
                </a:ext>
              </a:extLst>
            </p:cNvPr>
            <p:cNvSpPr/>
            <p:nvPr/>
          </p:nvSpPr>
          <p:spPr>
            <a:xfrm rot="13500000">
              <a:off x="3797807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0" name="Фигура, имеющая форму буквы L 229">
              <a:extLst>
                <a:ext uri="{FF2B5EF4-FFF2-40B4-BE49-F238E27FC236}">
                  <a16:creationId xmlns:a16="http://schemas.microsoft.com/office/drawing/2014/main" id="{DEC75F05-015F-384A-B168-7449A496B081}"/>
                </a:ext>
              </a:extLst>
            </p:cNvPr>
            <p:cNvSpPr/>
            <p:nvPr/>
          </p:nvSpPr>
          <p:spPr>
            <a:xfrm rot="13500000">
              <a:off x="3946898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31" name="Группа 230">
              <a:extLst>
                <a:ext uri="{FF2B5EF4-FFF2-40B4-BE49-F238E27FC236}">
                  <a16:creationId xmlns:a16="http://schemas.microsoft.com/office/drawing/2014/main" id="{29A3B65D-A790-1546-A4AC-9865D14A3857}"/>
                </a:ext>
              </a:extLst>
            </p:cNvPr>
            <p:cNvGrpSpPr/>
            <p:nvPr/>
          </p:nvGrpSpPr>
          <p:grpSpPr>
            <a:xfrm>
              <a:off x="4095989" y="3172565"/>
              <a:ext cx="401436" cy="103256"/>
              <a:chOff x="4095989" y="3172565"/>
              <a:chExt cx="401436" cy="103256"/>
            </a:xfrm>
          </p:grpSpPr>
          <p:sp>
            <p:nvSpPr>
              <p:cNvPr id="232" name="Фигура, имеющая форму буквы L 231">
                <a:extLst>
                  <a:ext uri="{FF2B5EF4-FFF2-40B4-BE49-F238E27FC236}">
                    <a16:creationId xmlns:a16="http://schemas.microsoft.com/office/drawing/2014/main" id="{A3F6DFF5-54F1-9842-A714-BCDE641BC466}"/>
                  </a:ext>
                </a:extLst>
              </p:cNvPr>
              <p:cNvSpPr/>
              <p:nvPr/>
            </p:nvSpPr>
            <p:spPr>
              <a:xfrm rot="13500000">
                <a:off x="4095989" y="3172565"/>
                <a:ext cx="103256" cy="103256"/>
              </a:xfrm>
              <a:prstGeom prst="corner">
                <a:avLst>
                  <a:gd name="adj1" fmla="val 0"/>
                  <a:gd name="adj2" fmla="val 0"/>
                </a:avLst>
              </a:prstGeom>
              <a:ln w="3175"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6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3" name="Фигура, имеющая форму буквы L 232">
                <a:extLst>
                  <a:ext uri="{FF2B5EF4-FFF2-40B4-BE49-F238E27FC236}">
                    <a16:creationId xmlns:a16="http://schemas.microsoft.com/office/drawing/2014/main" id="{9128D8F4-0CC5-DC4A-BD97-38FAED68486D}"/>
                  </a:ext>
                </a:extLst>
              </p:cNvPr>
              <p:cNvSpPr/>
              <p:nvPr/>
            </p:nvSpPr>
            <p:spPr>
              <a:xfrm rot="13500000">
                <a:off x="4245080" y="3172565"/>
                <a:ext cx="103256" cy="103256"/>
              </a:xfrm>
              <a:prstGeom prst="corner">
                <a:avLst>
                  <a:gd name="adj1" fmla="val 0"/>
                  <a:gd name="adj2" fmla="val 0"/>
                </a:avLst>
              </a:prstGeom>
              <a:ln w="3175"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6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34" name="Фигура, имеющая форму буквы L 233">
                <a:extLst>
                  <a:ext uri="{FF2B5EF4-FFF2-40B4-BE49-F238E27FC236}">
                    <a16:creationId xmlns:a16="http://schemas.microsoft.com/office/drawing/2014/main" id="{3733E44C-CC13-7E40-9316-27C5E1F6F8D0}"/>
                  </a:ext>
                </a:extLst>
              </p:cNvPr>
              <p:cNvSpPr/>
              <p:nvPr/>
            </p:nvSpPr>
            <p:spPr>
              <a:xfrm rot="13500000">
                <a:off x="4394169" y="3172565"/>
                <a:ext cx="103256" cy="103256"/>
              </a:xfrm>
              <a:prstGeom prst="corner">
                <a:avLst>
                  <a:gd name="adj1" fmla="val 0"/>
                  <a:gd name="adj2" fmla="val 0"/>
                </a:avLst>
              </a:prstGeom>
              <a:ln w="3175"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6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36" name="Прямоугольник 235">
            <a:extLst>
              <a:ext uri="{FF2B5EF4-FFF2-40B4-BE49-F238E27FC236}">
                <a16:creationId xmlns:a16="http://schemas.microsoft.com/office/drawing/2014/main" id="{94404DD1-B256-1C43-97BC-0579E1D15A7D}"/>
              </a:ext>
            </a:extLst>
          </p:cNvPr>
          <p:cNvSpPr/>
          <p:nvPr/>
        </p:nvSpPr>
        <p:spPr>
          <a:xfrm>
            <a:off x="5168476" y="1746480"/>
            <a:ext cx="4164368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9303" indent="-139303">
              <a:buFont typeface="Arial" panose="020B0604020202020204" pitchFamily="34" charset="0"/>
              <a:buChar char="•"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Анализ видеопотока производится с помощью системы искусственного интеллекта. 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и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обнаружении нарушения сигнал о нем транслируется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операторам системы и админист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ативно-техническому персоналу. </a:t>
            </a:r>
            <a:endParaRPr lang="en-US" sz="14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9303" indent="-139303">
              <a:buFont typeface="Arial" panose="020B0604020202020204" pitchFamily="34" charset="0"/>
              <a:buChar char="•"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Автоматизация работы контроля за использованием СИЗ и составление отчетов.</a:t>
            </a:r>
          </a:p>
        </p:txBody>
      </p:sp>
      <p:sp>
        <p:nvSpPr>
          <p:cNvPr id="239" name="Прямоугольник 18">
            <a:extLst>
              <a:ext uri="{FF2B5EF4-FFF2-40B4-BE49-F238E27FC236}">
                <a16:creationId xmlns:a16="http://schemas.microsoft.com/office/drawing/2014/main" id="{555E25F4-F951-E040-AFB5-D30EC87A54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6748" y="1399064"/>
            <a:ext cx="184732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endParaRPr lang="ru-RU" sz="2600" b="1" dirty="0">
              <a:solidFill>
                <a:schemeClr val="tx1">
                  <a:lumMod val="90000"/>
                  <a:lumOff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3" name="Прямоугольник 242">
            <a:extLst>
              <a:ext uri="{FF2B5EF4-FFF2-40B4-BE49-F238E27FC236}">
                <a16:creationId xmlns:a16="http://schemas.microsoft.com/office/drawing/2014/main" id="{B59247ED-E15D-7B48-A5D1-F87594632F88}"/>
              </a:ext>
            </a:extLst>
          </p:cNvPr>
          <p:cNvSpPr/>
          <p:nvPr/>
        </p:nvSpPr>
        <p:spPr>
          <a:xfrm>
            <a:off x="439088" y="4743531"/>
            <a:ext cx="4521286" cy="170554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anchor="ctr" anchorCtr="0">
            <a:noAutofit/>
          </a:bodyPr>
          <a:lstStyle/>
          <a:p>
            <a:pPr marL="145753" indent="-145753">
              <a:lnSpc>
                <a:spcPct val="90000"/>
              </a:lnSpc>
              <a:spcAft>
                <a:spcPts val="488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Повышение безопасности при выполнении работ на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электроустановках. 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5753" indent="-145753">
              <a:lnSpc>
                <a:spcPct val="90000"/>
              </a:lnSpc>
              <a:spcAft>
                <a:spcPts val="488"/>
              </a:spcAft>
              <a:buFont typeface="Arial" panose="020B0604020202020204" pitchFamily="34" charset="0"/>
              <a:buChar char="•"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Исключение несчастных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лучаев из-за неприменения 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ИЗ,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в том числе в связи с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«непроизвольным снятием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ИЗ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5753" indent="-145753">
              <a:lnSpc>
                <a:spcPct val="90000"/>
              </a:lnSpc>
              <a:spcAft>
                <a:spcPts val="488"/>
              </a:spcAft>
              <a:buFont typeface="Arial" panose="020B0604020202020204" pitchFamily="34" charset="0"/>
              <a:buChar char="•"/>
            </a:pP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окращение трудозатрат административно-технического персонала по контролю применения </a:t>
            </a: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ИЗ.</a:t>
            </a:r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2" name="Прямоугольник 241">
            <a:extLst>
              <a:ext uri="{FF2B5EF4-FFF2-40B4-BE49-F238E27FC236}">
                <a16:creationId xmlns:a16="http://schemas.microsoft.com/office/drawing/2014/main" id="{323F09AF-398A-114B-BA6C-6E860E962486}"/>
              </a:ext>
            </a:extLst>
          </p:cNvPr>
          <p:cNvSpPr/>
          <p:nvPr/>
        </p:nvSpPr>
        <p:spPr>
          <a:xfrm>
            <a:off x="1327473" y="4334606"/>
            <a:ext cx="692773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cap="all" dirty="0">
                <a:latin typeface="Arial" panose="020B0604020202020204" pitchFamily="34" charset="0"/>
                <a:cs typeface="Arial" panose="020B0604020202020204" pitchFamily="34" charset="0"/>
              </a:rPr>
              <a:t>Планируемый эффект от решения на основе работы с данными</a:t>
            </a:r>
          </a:p>
        </p:txBody>
      </p:sp>
      <p:sp>
        <p:nvSpPr>
          <p:cNvPr id="235" name="Прямоугольник 234">
            <a:extLst>
              <a:ext uri="{FF2B5EF4-FFF2-40B4-BE49-F238E27FC236}">
                <a16:creationId xmlns:a16="http://schemas.microsoft.com/office/drawing/2014/main" id="{5B39226F-37D2-194D-94D9-645912BBE6F5}"/>
              </a:ext>
            </a:extLst>
          </p:cNvPr>
          <p:cNvSpPr/>
          <p:nvPr/>
        </p:nvSpPr>
        <p:spPr>
          <a:xfrm>
            <a:off x="5168475" y="1183450"/>
            <a:ext cx="442370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cap="all" dirty="0">
                <a:latin typeface="Arial" panose="020B0604020202020204" pitchFamily="34" charset="0"/>
                <a:cs typeface="Arial" panose="020B0604020202020204" pitchFamily="34" charset="0"/>
              </a:rPr>
              <a:t>Решение на основе работы с данными</a:t>
            </a:r>
          </a:p>
        </p:txBody>
      </p:sp>
      <p:sp>
        <p:nvSpPr>
          <p:cNvPr id="44" name="Прямоугольник 18">
            <a:extLst>
              <a:ext uri="{FF2B5EF4-FFF2-40B4-BE49-F238E27FC236}">
                <a16:creationId xmlns:a16="http://schemas.microsoft.com/office/drawing/2014/main" id="{24CC4FF6-6030-3740-8701-93311097B5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60374" y="4743531"/>
            <a:ext cx="56297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sz="4000" b="1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sz="2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CAB2AC99-BBEF-7E44-834F-BB74115E049C}"/>
              </a:ext>
            </a:extLst>
          </p:cNvPr>
          <p:cNvSpPr/>
          <p:nvPr/>
        </p:nvSpPr>
        <p:spPr>
          <a:xfrm>
            <a:off x="5365744" y="4747407"/>
            <a:ext cx="407915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cap="all" dirty="0">
                <a:latin typeface="Arial" panose="020B0604020202020204" pitchFamily="34" charset="0"/>
                <a:cs typeface="Arial" panose="020B0604020202020204" pitchFamily="34" charset="0"/>
              </a:rPr>
              <a:t>Несчастных случаев в контролируемых помещениях </a:t>
            </a:r>
            <a:r>
              <a:rPr lang="ru-RU" sz="1400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cap="all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из-за </a:t>
            </a:r>
            <a:r>
              <a:rPr lang="ru-RU" sz="1400" cap="all" dirty="0">
                <a:latin typeface="Arial" panose="020B0604020202020204" pitchFamily="34" charset="0"/>
                <a:cs typeface="Arial" panose="020B0604020202020204" pitchFamily="34" charset="0"/>
              </a:rPr>
              <a:t>неправильного применения СИЗ </a:t>
            </a:r>
          </a:p>
        </p:txBody>
      </p:sp>
      <p:sp>
        <p:nvSpPr>
          <p:cNvPr id="47" name="Прямоугольник 18">
            <a:extLst>
              <a:ext uri="{FF2B5EF4-FFF2-40B4-BE49-F238E27FC236}">
                <a16:creationId xmlns:a16="http://schemas.microsoft.com/office/drawing/2014/main" id="{24CC4FF6-6030-3740-8701-93311097B5A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85999" y="5451417"/>
            <a:ext cx="562975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/>
            <a:r>
              <a:rPr lang="ru-RU" sz="4000" b="1" dirty="0"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sz="2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CAB2AC99-BBEF-7E44-834F-BB74115E049C}"/>
              </a:ext>
            </a:extLst>
          </p:cNvPr>
          <p:cNvSpPr/>
          <p:nvPr/>
        </p:nvSpPr>
        <p:spPr>
          <a:xfrm>
            <a:off x="5390986" y="5533201"/>
            <a:ext cx="37980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cap="all" dirty="0">
                <a:latin typeface="Arial" panose="020B0604020202020204" pitchFamily="34" charset="0"/>
                <a:cs typeface="Arial" panose="020B0604020202020204" pitchFamily="34" charset="0"/>
              </a:rPr>
              <a:t>Случаев пропуска </a:t>
            </a:r>
            <a:r>
              <a:rPr lang="ru-RU" sz="1400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cap="all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cap="all" dirty="0" smtClean="0">
                <a:latin typeface="Arial" panose="020B0604020202020204" pitchFamily="34" charset="0"/>
                <a:cs typeface="Arial" panose="020B0604020202020204" pitchFamily="34" charset="0"/>
              </a:rPr>
              <a:t>фактов нарушения</a:t>
            </a:r>
            <a:endParaRPr lang="ru-RU" sz="1400" cap="all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9986" y="2359964"/>
            <a:ext cx="3288355" cy="1848729"/>
          </a:xfrm>
          <a:prstGeom prst="rect">
            <a:avLst/>
          </a:prstGeom>
        </p:spPr>
      </p:pic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A2046495-7ED0-F74D-B534-63500A6D0456}"/>
              </a:ext>
            </a:extLst>
          </p:cNvPr>
          <p:cNvGrpSpPr/>
          <p:nvPr/>
        </p:nvGrpSpPr>
        <p:grpSpPr>
          <a:xfrm>
            <a:off x="4075976" y="2130959"/>
            <a:ext cx="782845" cy="62372"/>
            <a:chOff x="3201443" y="3172565"/>
            <a:chExt cx="1295982" cy="103256"/>
          </a:xfrm>
        </p:grpSpPr>
        <p:sp>
          <p:nvSpPr>
            <p:cNvPr id="27" name="Фигура, имеющая форму буквы L 26">
              <a:extLst>
                <a:ext uri="{FF2B5EF4-FFF2-40B4-BE49-F238E27FC236}">
                  <a16:creationId xmlns:a16="http://schemas.microsoft.com/office/drawing/2014/main" id="{C785E172-32BD-B843-B78D-96582583072F}"/>
                </a:ext>
              </a:extLst>
            </p:cNvPr>
            <p:cNvSpPr/>
            <p:nvPr/>
          </p:nvSpPr>
          <p:spPr>
            <a:xfrm rot="13500000">
              <a:off x="3201443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Фигура, имеющая форму буквы L 27">
              <a:extLst>
                <a:ext uri="{FF2B5EF4-FFF2-40B4-BE49-F238E27FC236}">
                  <a16:creationId xmlns:a16="http://schemas.microsoft.com/office/drawing/2014/main" id="{8A3FC224-18F6-7948-AD42-386FE8EA553B}"/>
                </a:ext>
              </a:extLst>
            </p:cNvPr>
            <p:cNvSpPr/>
            <p:nvPr/>
          </p:nvSpPr>
          <p:spPr>
            <a:xfrm rot="13500000">
              <a:off x="3350534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Фигура, имеющая форму буквы L 28">
              <a:extLst>
                <a:ext uri="{FF2B5EF4-FFF2-40B4-BE49-F238E27FC236}">
                  <a16:creationId xmlns:a16="http://schemas.microsoft.com/office/drawing/2014/main" id="{FE3CE466-AFA5-7043-B4F8-F9A4FA3A6780}"/>
                </a:ext>
              </a:extLst>
            </p:cNvPr>
            <p:cNvSpPr/>
            <p:nvPr/>
          </p:nvSpPr>
          <p:spPr>
            <a:xfrm rot="13500000">
              <a:off x="3499625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Фигура, имеющая форму буквы L 29">
              <a:extLst>
                <a:ext uri="{FF2B5EF4-FFF2-40B4-BE49-F238E27FC236}">
                  <a16:creationId xmlns:a16="http://schemas.microsoft.com/office/drawing/2014/main" id="{F5B0C544-21C7-F246-9598-345EF957AC78}"/>
                </a:ext>
              </a:extLst>
            </p:cNvPr>
            <p:cNvSpPr/>
            <p:nvPr/>
          </p:nvSpPr>
          <p:spPr>
            <a:xfrm rot="13500000">
              <a:off x="3648716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Фигура, имеющая форму буквы L 30">
              <a:extLst>
                <a:ext uri="{FF2B5EF4-FFF2-40B4-BE49-F238E27FC236}">
                  <a16:creationId xmlns:a16="http://schemas.microsoft.com/office/drawing/2014/main" id="{079C6E1B-EF64-D84E-B841-CBD0DBAAD6E5}"/>
                </a:ext>
              </a:extLst>
            </p:cNvPr>
            <p:cNvSpPr/>
            <p:nvPr/>
          </p:nvSpPr>
          <p:spPr>
            <a:xfrm rot="13500000">
              <a:off x="3797807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Фигура, имеющая форму буквы L 31">
              <a:extLst>
                <a:ext uri="{FF2B5EF4-FFF2-40B4-BE49-F238E27FC236}">
                  <a16:creationId xmlns:a16="http://schemas.microsoft.com/office/drawing/2014/main" id="{DEC75F05-015F-384A-B168-7449A496B081}"/>
                </a:ext>
              </a:extLst>
            </p:cNvPr>
            <p:cNvSpPr/>
            <p:nvPr/>
          </p:nvSpPr>
          <p:spPr>
            <a:xfrm rot="13500000">
              <a:off x="3946898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33" name="Группа 32">
              <a:extLst>
                <a:ext uri="{FF2B5EF4-FFF2-40B4-BE49-F238E27FC236}">
                  <a16:creationId xmlns:a16="http://schemas.microsoft.com/office/drawing/2014/main" id="{29A3B65D-A790-1546-A4AC-9865D14A3857}"/>
                </a:ext>
              </a:extLst>
            </p:cNvPr>
            <p:cNvGrpSpPr/>
            <p:nvPr/>
          </p:nvGrpSpPr>
          <p:grpSpPr>
            <a:xfrm>
              <a:off x="4095989" y="3172565"/>
              <a:ext cx="401436" cy="103256"/>
              <a:chOff x="4095989" y="3172565"/>
              <a:chExt cx="401436" cy="103256"/>
            </a:xfrm>
          </p:grpSpPr>
          <p:sp>
            <p:nvSpPr>
              <p:cNvPr id="34" name="Фигура, имеющая форму буквы L 33">
                <a:extLst>
                  <a:ext uri="{FF2B5EF4-FFF2-40B4-BE49-F238E27FC236}">
                    <a16:creationId xmlns:a16="http://schemas.microsoft.com/office/drawing/2014/main" id="{A3F6DFF5-54F1-9842-A714-BCDE641BC466}"/>
                  </a:ext>
                </a:extLst>
              </p:cNvPr>
              <p:cNvSpPr/>
              <p:nvPr/>
            </p:nvSpPr>
            <p:spPr>
              <a:xfrm rot="13500000">
                <a:off x="4095989" y="3172565"/>
                <a:ext cx="103256" cy="103256"/>
              </a:xfrm>
              <a:prstGeom prst="corner">
                <a:avLst>
                  <a:gd name="adj1" fmla="val 0"/>
                  <a:gd name="adj2" fmla="val 0"/>
                </a:avLst>
              </a:prstGeom>
              <a:ln w="3175"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6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Фигура, имеющая форму буквы L 34">
                <a:extLst>
                  <a:ext uri="{FF2B5EF4-FFF2-40B4-BE49-F238E27FC236}">
                    <a16:creationId xmlns:a16="http://schemas.microsoft.com/office/drawing/2014/main" id="{9128D8F4-0CC5-DC4A-BD97-38FAED68486D}"/>
                  </a:ext>
                </a:extLst>
              </p:cNvPr>
              <p:cNvSpPr/>
              <p:nvPr/>
            </p:nvSpPr>
            <p:spPr>
              <a:xfrm rot="13500000">
                <a:off x="4245080" y="3172565"/>
                <a:ext cx="103256" cy="103256"/>
              </a:xfrm>
              <a:prstGeom prst="corner">
                <a:avLst>
                  <a:gd name="adj1" fmla="val 0"/>
                  <a:gd name="adj2" fmla="val 0"/>
                </a:avLst>
              </a:prstGeom>
              <a:ln w="3175"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6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Фигура, имеющая форму буквы L 35">
                <a:extLst>
                  <a:ext uri="{FF2B5EF4-FFF2-40B4-BE49-F238E27FC236}">
                    <a16:creationId xmlns:a16="http://schemas.microsoft.com/office/drawing/2014/main" id="{3733E44C-CC13-7E40-9316-27C5E1F6F8D0}"/>
                  </a:ext>
                </a:extLst>
              </p:cNvPr>
              <p:cNvSpPr/>
              <p:nvPr/>
            </p:nvSpPr>
            <p:spPr>
              <a:xfrm rot="13500000">
                <a:off x="4394169" y="3172565"/>
                <a:ext cx="103256" cy="103256"/>
              </a:xfrm>
              <a:prstGeom prst="corner">
                <a:avLst>
                  <a:gd name="adj1" fmla="val 0"/>
                  <a:gd name="adj2" fmla="val 0"/>
                </a:avLst>
              </a:prstGeom>
              <a:ln w="3175"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6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A2046495-7ED0-F74D-B534-63500A6D0456}"/>
              </a:ext>
            </a:extLst>
          </p:cNvPr>
          <p:cNvGrpSpPr/>
          <p:nvPr/>
        </p:nvGrpSpPr>
        <p:grpSpPr>
          <a:xfrm>
            <a:off x="4075976" y="2955766"/>
            <a:ext cx="782845" cy="62372"/>
            <a:chOff x="3201443" y="3172565"/>
            <a:chExt cx="1295982" cy="103256"/>
          </a:xfrm>
        </p:grpSpPr>
        <p:sp>
          <p:nvSpPr>
            <p:cNvPr id="38" name="Фигура, имеющая форму буквы L 37">
              <a:extLst>
                <a:ext uri="{FF2B5EF4-FFF2-40B4-BE49-F238E27FC236}">
                  <a16:creationId xmlns:a16="http://schemas.microsoft.com/office/drawing/2014/main" id="{C785E172-32BD-B843-B78D-96582583072F}"/>
                </a:ext>
              </a:extLst>
            </p:cNvPr>
            <p:cNvSpPr/>
            <p:nvPr/>
          </p:nvSpPr>
          <p:spPr>
            <a:xfrm rot="13500000">
              <a:off x="3201443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Фигура, имеющая форму буквы L 38">
              <a:extLst>
                <a:ext uri="{FF2B5EF4-FFF2-40B4-BE49-F238E27FC236}">
                  <a16:creationId xmlns:a16="http://schemas.microsoft.com/office/drawing/2014/main" id="{8A3FC224-18F6-7948-AD42-386FE8EA553B}"/>
                </a:ext>
              </a:extLst>
            </p:cNvPr>
            <p:cNvSpPr/>
            <p:nvPr/>
          </p:nvSpPr>
          <p:spPr>
            <a:xfrm rot="13500000">
              <a:off x="3350534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Фигура, имеющая форму буквы L 39">
              <a:extLst>
                <a:ext uri="{FF2B5EF4-FFF2-40B4-BE49-F238E27FC236}">
                  <a16:creationId xmlns:a16="http://schemas.microsoft.com/office/drawing/2014/main" id="{FE3CE466-AFA5-7043-B4F8-F9A4FA3A6780}"/>
                </a:ext>
              </a:extLst>
            </p:cNvPr>
            <p:cNvSpPr/>
            <p:nvPr/>
          </p:nvSpPr>
          <p:spPr>
            <a:xfrm rot="13500000">
              <a:off x="3499625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Фигура, имеющая форму буквы L 40">
              <a:extLst>
                <a:ext uri="{FF2B5EF4-FFF2-40B4-BE49-F238E27FC236}">
                  <a16:creationId xmlns:a16="http://schemas.microsoft.com/office/drawing/2014/main" id="{F5B0C544-21C7-F246-9598-345EF957AC78}"/>
                </a:ext>
              </a:extLst>
            </p:cNvPr>
            <p:cNvSpPr/>
            <p:nvPr/>
          </p:nvSpPr>
          <p:spPr>
            <a:xfrm rot="13500000">
              <a:off x="3648716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Фигура, имеющая форму буквы L 41">
              <a:extLst>
                <a:ext uri="{FF2B5EF4-FFF2-40B4-BE49-F238E27FC236}">
                  <a16:creationId xmlns:a16="http://schemas.microsoft.com/office/drawing/2014/main" id="{079C6E1B-EF64-D84E-B841-CBD0DBAAD6E5}"/>
                </a:ext>
              </a:extLst>
            </p:cNvPr>
            <p:cNvSpPr/>
            <p:nvPr/>
          </p:nvSpPr>
          <p:spPr>
            <a:xfrm rot="13500000">
              <a:off x="3797807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Фигура, имеющая форму буквы L 42">
              <a:extLst>
                <a:ext uri="{FF2B5EF4-FFF2-40B4-BE49-F238E27FC236}">
                  <a16:creationId xmlns:a16="http://schemas.microsoft.com/office/drawing/2014/main" id="{DEC75F05-015F-384A-B168-7449A496B081}"/>
                </a:ext>
              </a:extLst>
            </p:cNvPr>
            <p:cNvSpPr/>
            <p:nvPr/>
          </p:nvSpPr>
          <p:spPr>
            <a:xfrm rot="13500000">
              <a:off x="3946898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5" name="Группа 44">
              <a:extLst>
                <a:ext uri="{FF2B5EF4-FFF2-40B4-BE49-F238E27FC236}">
                  <a16:creationId xmlns:a16="http://schemas.microsoft.com/office/drawing/2014/main" id="{29A3B65D-A790-1546-A4AC-9865D14A3857}"/>
                </a:ext>
              </a:extLst>
            </p:cNvPr>
            <p:cNvGrpSpPr/>
            <p:nvPr/>
          </p:nvGrpSpPr>
          <p:grpSpPr>
            <a:xfrm>
              <a:off x="4095989" y="3172565"/>
              <a:ext cx="401436" cy="103256"/>
              <a:chOff x="4095989" y="3172565"/>
              <a:chExt cx="401436" cy="103256"/>
            </a:xfrm>
          </p:grpSpPr>
          <p:sp>
            <p:nvSpPr>
              <p:cNvPr id="49" name="Фигура, имеющая форму буквы L 48">
                <a:extLst>
                  <a:ext uri="{FF2B5EF4-FFF2-40B4-BE49-F238E27FC236}">
                    <a16:creationId xmlns:a16="http://schemas.microsoft.com/office/drawing/2014/main" id="{A3F6DFF5-54F1-9842-A714-BCDE641BC466}"/>
                  </a:ext>
                </a:extLst>
              </p:cNvPr>
              <p:cNvSpPr/>
              <p:nvPr/>
            </p:nvSpPr>
            <p:spPr>
              <a:xfrm rot="13500000">
                <a:off x="4095989" y="3172565"/>
                <a:ext cx="103256" cy="103256"/>
              </a:xfrm>
              <a:prstGeom prst="corner">
                <a:avLst>
                  <a:gd name="adj1" fmla="val 0"/>
                  <a:gd name="adj2" fmla="val 0"/>
                </a:avLst>
              </a:prstGeom>
              <a:ln w="3175"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6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Фигура, имеющая форму буквы L 49">
                <a:extLst>
                  <a:ext uri="{FF2B5EF4-FFF2-40B4-BE49-F238E27FC236}">
                    <a16:creationId xmlns:a16="http://schemas.microsoft.com/office/drawing/2014/main" id="{9128D8F4-0CC5-DC4A-BD97-38FAED68486D}"/>
                  </a:ext>
                </a:extLst>
              </p:cNvPr>
              <p:cNvSpPr/>
              <p:nvPr/>
            </p:nvSpPr>
            <p:spPr>
              <a:xfrm rot="13500000">
                <a:off x="4245080" y="3172565"/>
                <a:ext cx="103256" cy="103256"/>
              </a:xfrm>
              <a:prstGeom prst="corner">
                <a:avLst>
                  <a:gd name="adj1" fmla="val 0"/>
                  <a:gd name="adj2" fmla="val 0"/>
                </a:avLst>
              </a:prstGeom>
              <a:ln w="3175"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6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Фигура, имеющая форму буквы L 50">
                <a:extLst>
                  <a:ext uri="{FF2B5EF4-FFF2-40B4-BE49-F238E27FC236}">
                    <a16:creationId xmlns:a16="http://schemas.microsoft.com/office/drawing/2014/main" id="{3733E44C-CC13-7E40-9316-27C5E1F6F8D0}"/>
                  </a:ext>
                </a:extLst>
              </p:cNvPr>
              <p:cNvSpPr/>
              <p:nvPr/>
            </p:nvSpPr>
            <p:spPr>
              <a:xfrm rot="13500000">
                <a:off x="4394169" y="3172565"/>
                <a:ext cx="103256" cy="103256"/>
              </a:xfrm>
              <a:prstGeom prst="corner">
                <a:avLst>
                  <a:gd name="adj1" fmla="val 0"/>
                  <a:gd name="adj2" fmla="val 0"/>
                </a:avLst>
              </a:prstGeom>
              <a:ln w="3175"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6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A2046495-7ED0-F74D-B534-63500A6D0456}"/>
              </a:ext>
            </a:extLst>
          </p:cNvPr>
          <p:cNvGrpSpPr/>
          <p:nvPr/>
        </p:nvGrpSpPr>
        <p:grpSpPr>
          <a:xfrm>
            <a:off x="4075976" y="3780573"/>
            <a:ext cx="782845" cy="62372"/>
            <a:chOff x="3201443" y="3172565"/>
            <a:chExt cx="1295982" cy="103256"/>
          </a:xfrm>
        </p:grpSpPr>
        <p:sp>
          <p:nvSpPr>
            <p:cNvPr id="53" name="Фигура, имеющая форму буквы L 52">
              <a:extLst>
                <a:ext uri="{FF2B5EF4-FFF2-40B4-BE49-F238E27FC236}">
                  <a16:creationId xmlns:a16="http://schemas.microsoft.com/office/drawing/2014/main" id="{C785E172-32BD-B843-B78D-96582583072F}"/>
                </a:ext>
              </a:extLst>
            </p:cNvPr>
            <p:cNvSpPr/>
            <p:nvPr/>
          </p:nvSpPr>
          <p:spPr>
            <a:xfrm rot="13500000">
              <a:off x="3201443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Фигура, имеющая форму буквы L 53">
              <a:extLst>
                <a:ext uri="{FF2B5EF4-FFF2-40B4-BE49-F238E27FC236}">
                  <a16:creationId xmlns:a16="http://schemas.microsoft.com/office/drawing/2014/main" id="{8A3FC224-18F6-7948-AD42-386FE8EA553B}"/>
                </a:ext>
              </a:extLst>
            </p:cNvPr>
            <p:cNvSpPr/>
            <p:nvPr/>
          </p:nvSpPr>
          <p:spPr>
            <a:xfrm rot="13500000">
              <a:off x="3350534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Фигура, имеющая форму буквы L 54">
              <a:extLst>
                <a:ext uri="{FF2B5EF4-FFF2-40B4-BE49-F238E27FC236}">
                  <a16:creationId xmlns:a16="http://schemas.microsoft.com/office/drawing/2014/main" id="{FE3CE466-AFA5-7043-B4F8-F9A4FA3A6780}"/>
                </a:ext>
              </a:extLst>
            </p:cNvPr>
            <p:cNvSpPr/>
            <p:nvPr/>
          </p:nvSpPr>
          <p:spPr>
            <a:xfrm rot="13500000">
              <a:off x="3499625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25000"/>
                  <a:lumOff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Фигура, имеющая форму буквы L 55">
              <a:extLst>
                <a:ext uri="{FF2B5EF4-FFF2-40B4-BE49-F238E27FC236}">
                  <a16:creationId xmlns:a16="http://schemas.microsoft.com/office/drawing/2014/main" id="{F5B0C544-21C7-F246-9598-345EF957AC78}"/>
                </a:ext>
              </a:extLst>
            </p:cNvPr>
            <p:cNvSpPr/>
            <p:nvPr/>
          </p:nvSpPr>
          <p:spPr>
            <a:xfrm rot="13500000">
              <a:off x="3648716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Фигура, имеющая форму буквы L 56">
              <a:extLst>
                <a:ext uri="{FF2B5EF4-FFF2-40B4-BE49-F238E27FC236}">
                  <a16:creationId xmlns:a16="http://schemas.microsoft.com/office/drawing/2014/main" id="{079C6E1B-EF64-D84E-B841-CBD0DBAAD6E5}"/>
                </a:ext>
              </a:extLst>
            </p:cNvPr>
            <p:cNvSpPr/>
            <p:nvPr/>
          </p:nvSpPr>
          <p:spPr>
            <a:xfrm rot="13500000">
              <a:off x="3797807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Фигура, имеющая форму буквы L 57">
              <a:extLst>
                <a:ext uri="{FF2B5EF4-FFF2-40B4-BE49-F238E27FC236}">
                  <a16:creationId xmlns:a16="http://schemas.microsoft.com/office/drawing/2014/main" id="{DEC75F05-015F-384A-B168-7449A496B081}"/>
                </a:ext>
              </a:extLst>
            </p:cNvPr>
            <p:cNvSpPr/>
            <p:nvPr/>
          </p:nvSpPr>
          <p:spPr>
            <a:xfrm rot="13500000">
              <a:off x="3946898" y="3172565"/>
              <a:ext cx="103256" cy="103256"/>
            </a:xfrm>
            <a:prstGeom prst="corner">
              <a:avLst>
                <a:gd name="adj1" fmla="val 0"/>
                <a:gd name="adj2" fmla="val 0"/>
              </a:avLst>
            </a:prstGeom>
            <a:ln w="317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9" name="Группа 58">
              <a:extLst>
                <a:ext uri="{FF2B5EF4-FFF2-40B4-BE49-F238E27FC236}">
                  <a16:creationId xmlns:a16="http://schemas.microsoft.com/office/drawing/2014/main" id="{29A3B65D-A790-1546-A4AC-9865D14A3857}"/>
                </a:ext>
              </a:extLst>
            </p:cNvPr>
            <p:cNvGrpSpPr/>
            <p:nvPr/>
          </p:nvGrpSpPr>
          <p:grpSpPr>
            <a:xfrm>
              <a:off x="4095989" y="3172565"/>
              <a:ext cx="401436" cy="103256"/>
              <a:chOff x="4095989" y="3172565"/>
              <a:chExt cx="401436" cy="103256"/>
            </a:xfrm>
          </p:grpSpPr>
          <p:sp>
            <p:nvSpPr>
              <p:cNvPr id="60" name="Фигура, имеющая форму буквы L 59">
                <a:extLst>
                  <a:ext uri="{FF2B5EF4-FFF2-40B4-BE49-F238E27FC236}">
                    <a16:creationId xmlns:a16="http://schemas.microsoft.com/office/drawing/2014/main" id="{A3F6DFF5-54F1-9842-A714-BCDE641BC466}"/>
                  </a:ext>
                </a:extLst>
              </p:cNvPr>
              <p:cNvSpPr/>
              <p:nvPr/>
            </p:nvSpPr>
            <p:spPr>
              <a:xfrm rot="13500000">
                <a:off x="4095989" y="3172565"/>
                <a:ext cx="103256" cy="103256"/>
              </a:xfrm>
              <a:prstGeom prst="corner">
                <a:avLst>
                  <a:gd name="adj1" fmla="val 0"/>
                  <a:gd name="adj2" fmla="val 0"/>
                </a:avLst>
              </a:prstGeom>
              <a:ln w="3175"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6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1" name="Фигура, имеющая форму буквы L 60">
                <a:extLst>
                  <a:ext uri="{FF2B5EF4-FFF2-40B4-BE49-F238E27FC236}">
                    <a16:creationId xmlns:a16="http://schemas.microsoft.com/office/drawing/2014/main" id="{9128D8F4-0CC5-DC4A-BD97-38FAED68486D}"/>
                  </a:ext>
                </a:extLst>
              </p:cNvPr>
              <p:cNvSpPr/>
              <p:nvPr/>
            </p:nvSpPr>
            <p:spPr>
              <a:xfrm rot="13500000">
                <a:off x="4245080" y="3172565"/>
                <a:ext cx="103256" cy="103256"/>
              </a:xfrm>
              <a:prstGeom prst="corner">
                <a:avLst>
                  <a:gd name="adj1" fmla="val 0"/>
                  <a:gd name="adj2" fmla="val 0"/>
                </a:avLst>
              </a:prstGeom>
              <a:ln w="3175"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6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2" name="Фигура, имеющая форму буквы L 61">
                <a:extLst>
                  <a:ext uri="{FF2B5EF4-FFF2-40B4-BE49-F238E27FC236}">
                    <a16:creationId xmlns:a16="http://schemas.microsoft.com/office/drawing/2014/main" id="{3733E44C-CC13-7E40-9316-27C5E1F6F8D0}"/>
                  </a:ext>
                </a:extLst>
              </p:cNvPr>
              <p:cNvSpPr/>
              <p:nvPr/>
            </p:nvSpPr>
            <p:spPr>
              <a:xfrm rot="13500000">
                <a:off x="4394169" y="3172565"/>
                <a:ext cx="103256" cy="103256"/>
              </a:xfrm>
              <a:prstGeom prst="corner">
                <a:avLst>
                  <a:gd name="adj1" fmla="val 0"/>
                  <a:gd name="adj2" fmla="val 0"/>
                </a:avLst>
              </a:prstGeom>
              <a:ln w="3175">
                <a:solidFill>
                  <a:schemeClr val="tx1">
                    <a:lumMod val="90000"/>
                    <a:lumOff val="1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63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144570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52437" y="427382"/>
            <a:ext cx="9330834" cy="566276"/>
          </a:xfrm>
        </p:spPr>
        <p:txBody>
          <a:bodyPr>
            <a:normAutofit/>
          </a:bodyPr>
          <a:lstStyle/>
          <a:p>
            <a:r>
              <a:rPr lang="ru-RU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этапы работ</a:t>
            </a:r>
            <a:endParaRPr lang="ru-RU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452437" y="1020526"/>
            <a:ext cx="8992458" cy="44319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64439" algn="l"/>
              </a:tabLst>
              <a:defRPr sz="193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 lvl="0" algn="just">
              <a:lnSpc>
                <a:spcPct val="150000"/>
              </a:lnSpc>
              <a:defRPr/>
            </a:pP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основании технического задания от 20.12.2018 № 35-18/ОИКТ выполнены работы:</a:t>
            </a:r>
          </a:p>
          <a:p>
            <a:pPr marL="342900" lvl="0" indent="-2540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ирование и инсталляция Системы на оборудовании Кольской АЭС.</a:t>
            </a:r>
          </a:p>
          <a:p>
            <a:pPr marL="342900" lvl="0" indent="-2540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ключение источников данных (</a:t>
            </a:r>
            <a:r>
              <a:rPr lang="en-US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</a:t>
            </a: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амер</a:t>
            </a:r>
            <a:r>
              <a:rPr lang="ru-RU" sz="16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ы</a:t>
            </a: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помещениях КРУ 6кВ).</a:t>
            </a:r>
          </a:p>
          <a:p>
            <a:pPr marL="342900" lvl="0" indent="-2540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едена видеосъемка имитаций нарушений с разных ракурсов (более 50 Гб видеоматериалов).</a:t>
            </a:r>
          </a:p>
          <a:p>
            <a:pPr marL="342900" indent="-2540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6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учение системы обнаружению нарушений применения СИЗ</a:t>
            </a: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lvl="0" indent="-2540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аны модули: обработки событий, хранения фотографий, обучения системы для определения новых типов СИЗ, хранилища моделей, хранилища разметки видеокадров.</a:t>
            </a:r>
          </a:p>
          <a:p>
            <a:pPr marL="342900" lvl="0" indent="-2540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ован</a:t>
            </a:r>
            <a:r>
              <a:rPr lang="en-US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ециальный интерфейс для разметки изображений.</a:t>
            </a:r>
          </a:p>
          <a:p>
            <a:pPr marL="342900" lvl="0" indent="-2540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едена разметка подготовленных изображений (всего было размечено более </a:t>
            </a:r>
            <a:b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00 изображений).</a:t>
            </a:r>
          </a:p>
          <a:p>
            <a:pPr marL="342900" lvl="0" indent="-254000" algn="just">
              <a:lnSpc>
                <a:spcPct val="150000"/>
              </a:lnSpc>
              <a:buFont typeface="+mj-lt"/>
              <a:buAutoNum type="arabicPeriod"/>
              <a:defRPr/>
            </a:pP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строено 6 серверов </a:t>
            </a:r>
            <a:r>
              <a:rPr lang="ru-RU" sz="1600" b="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lang="ru-RU" sz="1600" b="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итики данных.</a:t>
            </a:r>
          </a:p>
        </p:txBody>
      </p:sp>
    </p:spTree>
    <p:extLst>
      <p:ext uri="{BB962C8B-B14F-4D97-AF65-F5344CB8AC3E}">
        <p14:creationId xmlns:p14="http://schemas.microsoft.com/office/powerpoint/2010/main" val="273811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3"/>
          <p:cNvSpPr txBox="1">
            <a:spLocks/>
          </p:cNvSpPr>
          <p:nvPr/>
        </p:nvSpPr>
        <p:spPr>
          <a:xfrm>
            <a:off x="452437" y="500062"/>
            <a:ext cx="9330833" cy="489455"/>
          </a:xfrm>
          <a:prstGeom prst="rect">
            <a:avLst/>
          </a:prstGeom>
        </p:spPr>
        <p:txBody>
          <a:bodyPr vert="horz" lIns="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0070BA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 smtClean="0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этапы работ</a:t>
            </a:r>
            <a:endParaRPr lang="ru-RU" dirty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96731" y="2618506"/>
            <a:ext cx="5966380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20000"/>
              </a:lnSpc>
              <a:defRPr/>
            </a:pP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Проведены приемо-сдаточные испытания, опытная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эксплуатация, осуществлен ввод в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промышленную эксплуатацию.</a:t>
            </a: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52437" y="1419122"/>
            <a:ext cx="5966380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20000"/>
              </a:lnSpc>
              <a:defRPr/>
            </a:pP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Система была построена на основе существующей системы видеонаблюдения в КРУ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6кВ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18878" y="4132335"/>
            <a:ext cx="5966380" cy="15424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20000"/>
              </a:lnSpc>
              <a:defRPr/>
            </a:pP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Получено Свидетельство о государственной регистрации программы для ЭВМ № 2020662343.  СВС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ТБ и ПБ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включена в Реестр российского ПО, приказ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Министерства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связи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и массовых коммуникаций Российской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Федерации от 21.01.2021 № 19, регистрационный номер 199290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07405" y="1250319"/>
            <a:ext cx="3379951" cy="48013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6778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55243" y="416910"/>
            <a:ext cx="9344240" cy="750206"/>
          </a:xfrm>
        </p:spPr>
        <p:txBody>
          <a:bodyPr vert="horz" lIns="74295" tIns="37148" rIns="74295" bIns="37148" rtlCol="0" anchor="ctr">
            <a:noAutofit/>
          </a:bodyPr>
          <a:lstStyle/>
          <a:p>
            <a: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итектура системы и схема </a:t>
            </a:r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онных </a:t>
            </a:r>
            <a: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оков</a:t>
            </a:r>
            <a:endParaRPr lang="ru-RU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3C5DDD8-0418-E04C-8B06-EA1CB5EA5FBC}"/>
              </a:ext>
            </a:extLst>
          </p:cNvPr>
          <p:cNvSpPr/>
          <p:nvPr/>
        </p:nvSpPr>
        <p:spPr>
          <a:xfrm>
            <a:off x="6797240" y="1024241"/>
            <a:ext cx="3001991" cy="5003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>
              <a:lnSpc>
                <a:spcPct val="90000"/>
              </a:lnSpc>
              <a:spcAft>
                <a:spcPts val="488"/>
              </a:spcAft>
              <a:buAutoNum type="arabicPeriod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идеопотоки с камер системы видеонаблюдения в КРУ 6кВ направляются в сервер видеоаналитики,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модуль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дентификации нарушения ТБ,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ивающий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нализ видеопотоков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о всех камер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и детектирование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арушений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техники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безопасности.</a:t>
            </a:r>
          </a:p>
          <a:p>
            <a:pPr marL="180975" indent="-180975" algn="just">
              <a:lnSpc>
                <a:spcPct val="90000"/>
              </a:lnSpc>
              <a:spcAft>
                <a:spcPts val="488"/>
              </a:spcAft>
              <a:buAutoNum type="arabicPeriod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Виртуальные сервера приложений обеспечивают работу остальных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модулей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истемы: модуль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бработки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обытий, модуль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хранения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фотографий, модуль обучения, модуль уведомлений, модуль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налитических запросов и формирования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отчетов, модуль администрирования, модуль ведения журнала, модуль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ользовательского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интерфейса, модуль мониторинга и модуль хранения версий нейронной сети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46763" y="5217933"/>
            <a:ext cx="6101766" cy="11259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  <a:spcAft>
                <a:spcPts val="488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Доступ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ользователей к Системе организован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через 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Google Chrome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на ПК пользователя.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90000"/>
              </a:lnSpc>
              <a:spcAft>
                <a:spcPts val="488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Оповещения 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о детектированных системой событиях направляются пользователям посредством мгновенно всплывающих окон </a:t>
            </a: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с уведомлениями</a:t>
            </a:r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сообщений электронной почты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855" y="1047464"/>
            <a:ext cx="6474345" cy="41472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2853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58311" y="410340"/>
            <a:ext cx="9344240" cy="750206"/>
          </a:xfrm>
        </p:spPr>
        <p:txBody>
          <a:bodyPr vert="horz" lIns="74295" tIns="37148" rIns="74295" bIns="37148" rtlCol="0" anchor="ctr">
            <a:noAutofit/>
          </a:bodyPr>
          <a:lstStyle/>
          <a:p>
            <a: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рфейс</a:t>
            </a:r>
            <a:r>
              <a:rPr lang="ru-RU" sz="220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истемы</a:t>
            </a:r>
            <a:endParaRPr lang="ru-RU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47420" y="5672611"/>
            <a:ext cx="89567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Calibri" panose="020F0502020204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 </a:t>
            </a:r>
            <a:endParaRPr lang="ru-RU" sz="1400" dirty="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8311" y="1056043"/>
            <a:ext cx="9013808" cy="5492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2135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48658" y="412604"/>
            <a:ext cx="9344240" cy="750206"/>
          </a:xfrm>
        </p:spPr>
        <p:txBody>
          <a:bodyPr vert="horz" lIns="74295" tIns="37148" rIns="74295" bIns="37148" rtlCol="0" anchor="ctr">
            <a:noAutofit/>
          </a:bodyPr>
          <a:lstStyle/>
          <a:p>
            <a: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ы выявленных событий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554" y="1118350"/>
            <a:ext cx="8718472" cy="5312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34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/>
          </p:cNvPr>
          <p:cNvSpPr>
            <a:spLocks noGrp="1"/>
          </p:cNvSpPr>
          <p:nvPr>
            <p:ph type="title"/>
          </p:nvPr>
        </p:nvSpPr>
        <p:spPr>
          <a:xfrm>
            <a:off x="358182" y="260204"/>
            <a:ext cx="9547818" cy="750206"/>
          </a:xfrm>
        </p:spPr>
        <p:txBody>
          <a:bodyPr vert="horz" lIns="74295" tIns="37148" rIns="74295" bIns="37148" rtlCol="0" anchor="ctr">
            <a:noAutofit/>
          </a:bodyPr>
          <a:lstStyle/>
          <a:p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ры всплывающих окон с нарушениями </a:t>
            </a:r>
            <a: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АРМ </a:t>
            </a:r>
            <a:r>
              <a:rPr lang="ru-RU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а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652" y="1103409"/>
            <a:ext cx="2165976" cy="474173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2176" y="1105691"/>
            <a:ext cx="2163891" cy="473716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6503" y="1105691"/>
            <a:ext cx="2163891" cy="473716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90830" y="1105691"/>
            <a:ext cx="2163890" cy="47371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537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u6ATX5JUW7c7BzDsLSig"/>
</p:tagLst>
</file>

<file path=ppt/theme/theme1.xml><?xml version="1.0" encoding="utf-8"?>
<a:theme xmlns:a="http://schemas.openxmlformats.org/drawingml/2006/main" name="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_А4_,без лого — копия" id="{FCAFF0C2-B6DF-474B-AE95-D3787A10BD98}" vid="{71E6C09B-1356-454C-B33D-85A54AADC182}"/>
    </a:ext>
  </a:extLst>
</a:theme>
</file>

<file path=ppt/theme/theme2.xml><?xml version="1.0" encoding="utf-8"?>
<a:theme xmlns:a="http://schemas.openxmlformats.org/drawingml/2006/main" name="1_Оформление по умолчанию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_А4_,без лого — копия" id="{FCAFF0C2-B6DF-474B-AE95-D3787A10BD98}" vid="{71E6C09B-1356-454C-B33D-85A54AADC182}"/>
    </a:ext>
  </a:extLst>
</a:theme>
</file>

<file path=ppt/theme/theme3.xml><?xml version="1.0" encoding="utf-8"?>
<a:theme xmlns:a="http://schemas.openxmlformats.org/drawingml/2006/main" name="2_Оформление по умолчанию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_А4_,без лого — копия" id="{FCAFF0C2-B6DF-474B-AE95-D3787A10BD98}" vid="{71E6C09B-1356-454C-B33D-85A54AADC182}"/>
    </a:ext>
  </a:extLst>
</a:theme>
</file>

<file path=ppt/theme/theme4.xml><?xml version="1.0" encoding="utf-8"?>
<a:theme xmlns:a="http://schemas.openxmlformats.org/drawingml/2006/main" name="3_Оформление по умолчанию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_А4_,без лого — копия" id="{FCAFF0C2-B6DF-474B-AE95-D3787A10BD98}" vid="{71E6C09B-1356-454C-B33D-85A54AADC182}"/>
    </a:ext>
  </a:extLst>
</a:theme>
</file>

<file path=ppt/theme/theme5.xml><?xml version="1.0" encoding="utf-8"?>
<a:theme xmlns:a="http://schemas.openxmlformats.org/drawingml/2006/main" name="1_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_А4_,без лого — копия" id="{FCAFF0C2-B6DF-474B-AE95-D3787A10BD98}" vid="{71E6C09B-1356-454C-B33D-85A54AADC182}"/>
    </a:ext>
  </a:extLst>
</a:theme>
</file>

<file path=ppt/theme/theme6.xml><?xml version="1.0" encoding="utf-8"?>
<a:theme xmlns:a="http://schemas.openxmlformats.org/drawingml/2006/main" name="2_for_preza">
  <a:themeElements>
    <a:clrScheme name="Другая 1">
      <a:dk1>
        <a:sysClr val="windowText" lastClr="000000"/>
      </a:dk1>
      <a:lt1>
        <a:srgbClr val="FFFFFF"/>
      </a:lt1>
      <a:dk2>
        <a:srgbClr val="325076"/>
      </a:dk2>
      <a:lt2>
        <a:srgbClr val="FFFFFF"/>
      </a:lt2>
      <a:accent1>
        <a:srgbClr val="00B050"/>
      </a:accent1>
      <a:accent2>
        <a:srgbClr val="00B0F0"/>
      </a:accent2>
      <a:accent3>
        <a:srgbClr val="639ECA"/>
      </a:accent3>
      <a:accent4>
        <a:srgbClr val="0070C0"/>
      </a:accent4>
      <a:accent5>
        <a:srgbClr val="FFC000"/>
      </a:accent5>
      <a:accent6>
        <a:srgbClr val="996633"/>
      </a:accent6>
      <a:hlink>
        <a:srgbClr val="F2F2F2"/>
      </a:hlink>
      <a:folHlink>
        <a:srgbClr val="7F7F7F"/>
      </a:folHlink>
    </a:clrScheme>
    <a:fontScheme name="Другая 2">
      <a:majorFont>
        <a:latin typeface="Circe Bold"/>
        <a:ea typeface=""/>
        <a:cs typeface=""/>
      </a:majorFont>
      <a:minorFont>
        <a:latin typeface="Circe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_А4_,без лого — копия" id="{FCAFF0C2-B6DF-474B-AE95-D3787A10BD98}" vid="{71E6C09B-1356-454C-B33D-85A54AADC182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A_shablon_2017</Template>
  <TotalTime>20372</TotalTime>
  <Words>1576</Words>
  <Application>Microsoft Office PowerPoint</Application>
  <PresentationFormat>Лист A4 (210x297 мм)</PresentationFormat>
  <Paragraphs>176</Paragraphs>
  <Slides>18</Slides>
  <Notes>15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6</vt:i4>
      </vt:variant>
      <vt:variant>
        <vt:lpstr>Заголовки слайдов</vt:lpstr>
      </vt:variant>
      <vt:variant>
        <vt:i4>18</vt:i4>
      </vt:variant>
    </vt:vector>
  </HeadingPairs>
  <TitlesOfParts>
    <vt:vector size="35" baseType="lpstr">
      <vt:lpstr>Arial</vt:lpstr>
      <vt:lpstr>Arial Обычный</vt:lpstr>
      <vt:lpstr>Calibri</vt:lpstr>
      <vt:lpstr>Calibri Light</vt:lpstr>
      <vt:lpstr>Circe</vt:lpstr>
      <vt:lpstr>Circe Bold</vt:lpstr>
      <vt:lpstr>Circe Light</vt:lpstr>
      <vt:lpstr>DejaVu Sans</vt:lpstr>
      <vt:lpstr>Symbol</vt:lpstr>
      <vt:lpstr>Times New Roman</vt:lpstr>
      <vt:lpstr>Wingdings</vt:lpstr>
      <vt:lpstr>for_preza</vt:lpstr>
      <vt:lpstr>1_Оформление по умолчанию</vt:lpstr>
      <vt:lpstr>2_Оформление по умолчанию</vt:lpstr>
      <vt:lpstr>3_Оформление по умолчанию</vt:lpstr>
      <vt:lpstr>1_for_preza</vt:lpstr>
      <vt:lpstr>2_for_preza</vt:lpstr>
      <vt:lpstr>ВНЕДРЕНИЕ СИСТЕМЫ ВИДЕОАНАЛИЗА СОБЛЮДЕНИЯ ТЕХНИКИ БЕЗОПАСНОСТИ И ПРОМЫШЛЕННОЙ БЕЗОПАСНОСТИ     </vt:lpstr>
      <vt:lpstr>Презентация PowerPoint</vt:lpstr>
      <vt:lpstr>Цели внедрения Системы видеоанализа соблюдения  техники безопасности и промышленной безопасности</vt:lpstr>
      <vt:lpstr>Основные этапы работ</vt:lpstr>
      <vt:lpstr>Презентация PowerPoint</vt:lpstr>
      <vt:lpstr>Архитектура системы и схема информационных потоков</vt:lpstr>
      <vt:lpstr>Интерфейс системы</vt:lpstr>
      <vt:lpstr>Примеры выявленных событий</vt:lpstr>
      <vt:lpstr>Примеры всплывающих окон с нарушениями  на АРМ оператора</vt:lpstr>
      <vt:lpstr>Реагирование на выявленные события</vt:lpstr>
      <vt:lpstr>Результаты работы «машинного зрения»</vt:lpstr>
      <vt:lpstr>Результаты работы «машинного зрения»</vt:lpstr>
      <vt:lpstr>Основные результаты внедрения СВС ТБ и ПБ на Кольской АЭС</vt:lpstr>
      <vt:lpstr>Показатели цифровизируемого процесса</vt:lpstr>
      <vt:lpstr>Реализуемые направление модернизации СВС ТБ и ПБ Кольской АЭС</vt:lpstr>
      <vt:lpstr>Презентация PowerPoint</vt:lpstr>
      <vt:lpstr>Опыт Кольской АЭС:  проблемные вопросы при внедрении «машинного зрения»</vt:lpstr>
      <vt:lpstr>Приложения (все таблицы с мелким шрифтом, подробная информация, справочная информация и т.д.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держание</dc:title>
  <dc:creator>пользователь Microsoft Office</dc:creator>
  <cp:lastModifiedBy>Савицкий Борис Борисович</cp:lastModifiedBy>
  <cp:revision>830</cp:revision>
  <cp:lastPrinted>2020-07-27T10:29:51Z</cp:lastPrinted>
  <dcterms:created xsi:type="dcterms:W3CDTF">2017-04-20T21:00:35Z</dcterms:created>
  <dcterms:modified xsi:type="dcterms:W3CDTF">2021-11-10T08:03:35Z</dcterms:modified>
</cp:coreProperties>
</file>